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media/image24.bin" ContentType="image/x-emf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media/image42.bin" ContentType="image/x-emf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3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4.xml" ContentType="application/vnd.openxmlformats-officedocument.presentationml.notesSlid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notesSlides/notesSlide5.xml" ContentType="application/vnd.openxmlformats-officedocument.presentationml.notesSlid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notesSlides/notesSlide6.xml" ContentType="application/vnd.openxmlformats-officedocument.presentationml.notesSlide+xml"/>
  <Override PartName="/ppt/tags/tag235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25"/>
  </p:sldMasterIdLst>
  <p:notesMasterIdLst>
    <p:notesMasterId r:id="rId33"/>
  </p:notesMasterIdLst>
  <p:handoutMasterIdLst>
    <p:handoutMasterId r:id="rId34"/>
  </p:handoutMasterIdLst>
  <p:sldIdLst>
    <p:sldId id="272" r:id="rId26"/>
    <p:sldId id="4174" r:id="rId27"/>
    <p:sldId id="4175" r:id="rId28"/>
    <p:sldId id="4176" r:id="rId29"/>
    <p:sldId id="4177" r:id="rId30"/>
    <p:sldId id="4165" r:id="rId31"/>
    <p:sldId id="655" r:id="rId32"/>
  </p:sldIdLst>
  <p:sldSz cx="12192000" cy="6858000"/>
  <p:notesSz cx="6858000" cy="9144000"/>
  <p:embeddedFontLst>
    <p:embeddedFont>
      <p:font typeface="Arial" panose="020B0604020202020204" pitchFamily="34" charset="0"/>
      <p:regular r:id="rId35"/>
      <p:italic r:id="rId36"/>
    </p:embeddedFont>
    <p:embeddedFont>
      <p:font typeface="Calibri" panose="020F0502020204030204" pitchFamily="34" charset="0"/>
      <p:regular r:id="rId37"/>
      <p:bold r:id="rId38"/>
      <p:italic r:id="rId39"/>
      <p:boldItalic r:id="rId40"/>
    </p:embeddedFont>
    <p:embeddedFont>
      <p:font typeface="Open Sans" panose="020B0606030504020204" pitchFamily="34" charset="0"/>
      <p:regular r:id="rId41"/>
      <p:bold r:id="rId42"/>
      <p:italic r:id="rId43"/>
      <p:boldItalic r:id="rId44"/>
    </p:embeddedFont>
    <p:embeddedFont>
      <p:font typeface="Open Sans SemiBold" panose="020B0706030804020204" pitchFamily="34" charset="0"/>
      <p:bold r:id="rId45"/>
      <p:boldItalic r:id="rId46"/>
    </p:embeddedFont>
    <p:embeddedFont>
      <p:font typeface="Roboto Slab Light" panose="020B0604020202020204" charset="0"/>
      <p:regular r:id="rId47"/>
    </p:embeddedFont>
    <p:embeddedFont>
      <p:font typeface="Segoe UI" panose="020B0502040204020203" pitchFamily="34" charset="0"/>
      <p:regular r:id="rId48"/>
      <p:bold r:id="rId49"/>
      <p:italic r:id="rId50"/>
      <p:boldItalic r:id="rId51"/>
    </p:embeddedFont>
  </p:embeddedFontLst>
  <p:custDataLst>
    <p:tags r:id="rId5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9F8F7"/>
    <a:srgbClr val="F6F5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125" autoAdjust="0"/>
  </p:normalViewPr>
  <p:slideViewPr>
    <p:cSldViewPr snapToGrid="0" showGuides="1">
      <p:cViewPr varScale="1">
        <p:scale>
          <a:sx n="62" d="100"/>
          <a:sy n="62" d="100"/>
        </p:scale>
        <p:origin x="828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2692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1.xml"/><Relationship Id="rId39" Type="http://schemas.openxmlformats.org/officeDocument/2006/relationships/font" Target="fonts/font5.fntdata"/><Relationship Id="rId21" Type="http://schemas.openxmlformats.org/officeDocument/2006/relationships/customXml" Target="../customXml/item21.xml"/><Relationship Id="rId34" Type="http://schemas.openxmlformats.org/officeDocument/2006/relationships/handoutMaster" Target="handoutMasters/handoutMaster1.xml"/><Relationship Id="rId42" Type="http://schemas.openxmlformats.org/officeDocument/2006/relationships/font" Target="fonts/font8.fntdata"/><Relationship Id="rId47" Type="http://schemas.openxmlformats.org/officeDocument/2006/relationships/font" Target="fonts/font13.fntdata"/><Relationship Id="rId50" Type="http://schemas.openxmlformats.org/officeDocument/2006/relationships/font" Target="fonts/font16.fntdata"/><Relationship Id="rId55" Type="http://schemas.openxmlformats.org/officeDocument/2006/relationships/theme" Target="theme/theme1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slide" Target="slides/slide4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slide" Target="slides/slide7.xml"/><Relationship Id="rId37" Type="http://schemas.openxmlformats.org/officeDocument/2006/relationships/font" Target="fonts/font3.fntdata"/><Relationship Id="rId40" Type="http://schemas.openxmlformats.org/officeDocument/2006/relationships/font" Target="fonts/font6.fntdata"/><Relationship Id="rId45" Type="http://schemas.openxmlformats.org/officeDocument/2006/relationships/font" Target="fonts/font11.fntdata"/><Relationship Id="rId53" Type="http://schemas.openxmlformats.org/officeDocument/2006/relationships/presProps" Target="presProps.xml"/><Relationship Id="rId5" Type="http://schemas.openxmlformats.org/officeDocument/2006/relationships/customXml" Target="../customXml/item5.xml"/><Relationship Id="rId19" Type="http://schemas.openxmlformats.org/officeDocument/2006/relationships/customXml" Target="../customXml/item19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slide" Target="slides/slide2.xml"/><Relationship Id="rId30" Type="http://schemas.openxmlformats.org/officeDocument/2006/relationships/slide" Target="slides/slide5.xml"/><Relationship Id="rId35" Type="http://schemas.openxmlformats.org/officeDocument/2006/relationships/font" Target="fonts/font1.fntdata"/><Relationship Id="rId43" Type="http://schemas.openxmlformats.org/officeDocument/2006/relationships/font" Target="fonts/font9.fntdata"/><Relationship Id="rId48" Type="http://schemas.openxmlformats.org/officeDocument/2006/relationships/font" Target="fonts/font14.fntdata"/><Relationship Id="rId56" Type="http://schemas.openxmlformats.org/officeDocument/2006/relationships/tableStyles" Target="tableStyles.xml"/><Relationship Id="rId8" Type="http://schemas.openxmlformats.org/officeDocument/2006/relationships/customXml" Target="../customXml/item8.xml"/><Relationship Id="rId51" Type="http://schemas.openxmlformats.org/officeDocument/2006/relationships/font" Target="fonts/font17.fntdata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Master" Target="slideMasters/slideMaster1.xml"/><Relationship Id="rId33" Type="http://schemas.openxmlformats.org/officeDocument/2006/relationships/notesMaster" Target="notesMasters/notesMaster1.xml"/><Relationship Id="rId38" Type="http://schemas.openxmlformats.org/officeDocument/2006/relationships/font" Target="fonts/font4.fntdata"/><Relationship Id="rId46" Type="http://schemas.openxmlformats.org/officeDocument/2006/relationships/font" Target="fonts/font12.fntdata"/><Relationship Id="rId20" Type="http://schemas.openxmlformats.org/officeDocument/2006/relationships/customXml" Target="../customXml/item20.xml"/><Relationship Id="rId41" Type="http://schemas.openxmlformats.org/officeDocument/2006/relationships/font" Target="fonts/font7.fntdata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slide" Target="slides/slide3.xml"/><Relationship Id="rId36" Type="http://schemas.openxmlformats.org/officeDocument/2006/relationships/font" Target="fonts/font2.fntdata"/><Relationship Id="rId49" Type="http://schemas.openxmlformats.org/officeDocument/2006/relationships/font" Target="fonts/font15.fntdata"/><Relationship Id="rId57" Type="http://schemas.microsoft.com/office/2016/11/relationships/changesInfo" Target="changesInfos/changesInfo1.xml"/><Relationship Id="rId10" Type="http://schemas.openxmlformats.org/officeDocument/2006/relationships/customXml" Target="../customXml/item10.xml"/><Relationship Id="rId31" Type="http://schemas.openxmlformats.org/officeDocument/2006/relationships/slide" Target="slides/slide6.xml"/><Relationship Id="rId44" Type="http://schemas.openxmlformats.org/officeDocument/2006/relationships/font" Target="fonts/font10.fntdata"/><Relationship Id="rId52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e Heggelund" userId="S::aheggelund@euronext.com::992e46b9-358b-41e0-91b5-e47d24d5f35d" providerId="AD" clId="Web-{2053188D-6068-D033-EADD-C9CE19F84C00}"/>
    <pc:docChg chg="mod modMainMaster">
      <pc:chgData name="Anne Heggelund" userId="S::aheggelund@euronext.com::992e46b9-358b-41e0-91b5-e47d24d5f35d" providerId="AD" clId="Web-{2053188D-6068-D033-EADD-C9CE19F84C00}" dt="2022-05-04T11:01:01.073" v="1" actId="33475"/>
      <pc:docMkLst>
        <pc:docMk/>
      </pc:docMkLst>
      <pc:sldMasterChg chg="addSp">
        <pc:chgData name="Anne Heggelund" userId="S::aheggelund@euronext.com::992e46b9-358b-41e0-91b5-e47d24d5f35d" providerId="AD" clId="Web-{2053188D-6068-D033-EADD-C9CE19F84C00}" dt="2022-05-04T11:01:01.073" v="0" actId="33475"/>
        <pc:sldMasterMkLst>
          <pc:docMk/>
          <pc:sldMasterMk cId="180999990" sldId="2147483648"/>
        </pc:sldMasterMkLst>
        <pc:spChg chg="add">
          <ac:chgData name="Anne Heggelund" userId="S::aheggelund@euronext.com::992e46b9-358b-41e0-91b5-e47d24d5f35d" providerId="AD" clId="Web-{2053188D-6068-D033-EADD-C9CE19F84C00}" dt="2022-05-04T11:01:01.073" v="0" actId="33475"/>
          <ac:spMkLst>
            <pc:docMk/>
            <pc:sldMasterMk cId="180999990" sldId="2147483648"/>
            <ac:spMk id="9" creationId="{FC0500D1-77F7-1936-8925-8FE6534468D4}"/>
          </ac:spMkLst>
        </pc:sp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bin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bin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bin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bin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bin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bin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8">
            <a:extLst>
              <a:ext uri="{FF2B5EF4-FFF2-40B4-BE49-F238E27FC236}">
                <a16:creationId xmlns:a16="http://schemas.microsoft.com/office/drawing/2014/main" id="{AE845206-9D4B-4268-8A29-9556DF4E229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8752305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04 May 2022</a:t>
            </a:fld>
            <a:endParaRPr lang="en-GB" sz="800" dirty="0"/>
          </a:p>
        </p:txBody>
      </p:sp>
      <p:sp>
        <p:nvSpPr>
          <p:cNvPr id="11" name="Slide Number Placeholder 9">
            <a:extLst>
              <a:ext uri="{FF2B5EF4-FFF2-40B4-BE49-F238E27FC236}">
                <a16:creationId xmlns:a16="http://schemas.microsoft.com/office/drawing/2014/main" id="{DF349B49-B9DF-4BAC-A781-810C4D36F4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0535" y="8570490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12" name="Footer Placeholder 10">
            <a:extLst>
              <a:ext uri="{FF2B5EF4-FFF2-40B4-BE49-F238E27FC236}">
                <a16:creationId xmlns:a16="http://schemas.microsoft.com/office/drawing/2014/main" id="{4B53B10D-D604-4E2D-B18E-A2B8163CC1E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46366" y="8752305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13" name="Header Placeholder 12">
            <a:extLst>
              <a:ext uri="{FF2B5EF4-FFF2-40B4-BE49-F238E27FC236}">
                <a16:creationId xmlns:a16="http://schemas.microsoft.com/office/drawing/2014/main" id="{0225AF11-4B47-41F0-B130-3DC91DD63C4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46366" y="8570490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63FEA0BA-0B43-4CD5-8DCE-4589959A4C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56634" y="420808"/>
            <a:ext cx="996496" cy="118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otes Placeholder 7">
            <a:extLst>
              <a:ext uri="{FF2B5EF4-FFF2-40B4-BE49-F238E27FC236}">
                <a16:creationId xmlns:a16="http://schemas.microsoft.com/office/drawing/2014/main" id="{ED603FBB-C012-44F8-8D4E-1E5BCC6355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0000" y="5314247"/>
            <a:ext cx="6138000" cy="31109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Slide Image Placeholder 11">
            <a:extLst>
              <a:ext uri="{FF2B5EF4-FFF2-40B4-BE49-F238E27FC236}">
                <a16:creationId xmlns:a16="http://schemas.microsoft.com/office/drawing/2014/main" id="{CE09EA81-6923-4332-8C9E-30AE045AFB6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60000" y="1479581"/>
            <a:ext cx="6138000" cy="345247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7" name="Date Placeholder 8">
            <a:extLst>
              <a:ext uri="{FF2B5EF4-FFF2-40B4-BE49-F238E27FC236}">
                <a16:creationId xmlns:a16="http://schemas.microsoft.com/office/drawing/2014/main" id="{8EBAC05E-8F24-4752-8343-003B6B511FC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8752305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04 May 2022</a:t>
            </a:fld>
            <a:endParaRPr lang="en-GB" sz="800" dirty="0"/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1D693BA3-BE27-457C-84EF-2CE89AE4DB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60535" y="8570490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/>
          </a:p>
        </p:txBody>
      </p:sp>
      <p:sp>
        <p:nvSpPr>
          <p:cNvPr id="19" name="Footer Placeholder 10">
            <a:extLst>
              <a:ext uri="{FF2B5EF4-FFF2-40B4-BE49-F238E27FC236}">
                <a16:creationId xmlns:a16="http://schemas.microsoft.com/office/drawing/2014/main" id="{F71DC945-9758-4703-A041-B00CC90596B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53656" y="8752305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20" name="Header Placeholder 12">
            <a:extLst>
              <a:ext uri="{FF2B5EF4-FFF2-40B4-BE49-F238E27FC236}">
                <a16:creationId xmlns:a16="http://schemas.microsoft.com/office/drawing/2014/main" id="{9AA08409-7D69-4F6B-8F0E-3BF399AD47E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53656" y="8570490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1AE7EE4B-0F9F-47EC-A553-FAE443F97D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56800" y="420808"/>
            <a:ext cx="996496" cy="118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nb-NO" smtClean="0"/>
              <a:pPr/>
              <a:t>1</a:t>
            </a:fld>
            <a:endParaRPr lang="nb-NO" sz="800" dirty="0"/>
          </a:p>
        </p:txBody>
      </p:sp>
    </p:spTree>
    <p:extLst>
      <p:ext uri="{BB962C8B-B14F-4D97-AF65-F5344CB8AC3E}">
        <p14:creationId xmlns:p14="http://schemas.microsoft.com/office/powerpoint/2010/main" val="1805088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48729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3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35346020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41825994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5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30937617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66047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7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37061665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Thommesse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666C3893-E06E-4A6F-8B5D-9D6F29E1D4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64766" y="5186999"/>
            <a:ext cx="2481551" cy="295062"/>
          </a:xfrm>
          <a:prstGeom prst="rect">
            <a:avLst/>
          </a:prstGeom>
        </p:spPr>
      </p:pic>
      <p:grpSp>
        <p:nvGrpSpPr>
          <p:cNvPr id="28" name="Fifth element">
            <a:extLst>
              <a:ext uri="{FF2B5EF4-FFF2-40B4-BE49-F238E27FC236}">
                <a16:creationId xmlns:a16="http://schemas.microsoft.com/office/drawing/2014/main" id="{3FABA7DB-B61C-4597-B8EC-9B1628F38DEB}"/>
              </a:ext>
            </a:extLst>
          </p:cNvPr>
          <p:cNvGrpSpPr/>
          <p:nvPr userDrawn="1"/>
        </p:nvGrpSpPr>
        <p:grpSpPr>
          <a:xfrm>
            <a:off x="7084612" y="-267484"/>
            <a:ext cx="5108588" cy="7411895"/>
            <a:chOff x="7084612" y="-267484"/>
            <a:chExt cx="5108588" cy="7411895"/>
          </a:xfrm>
          <a:solidFill>
            <a:srgbClr val="EDE7DE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C68A22F-A696-49AB-A8F7-CD1E36206B49}"/>
                </a:ext>
              </a:extLst>
            </p:cNvPr>
            <p:cNvSpPr/>
            <p:nvPr userDrawn="1"/>
          </p:nvSpPr>
          <p:spPr>
            <a:xfrm>
              <a:off x="8127266" y="3286192"/>
              <a:ext cx="4065934" cy="28800"/>
            </a:xfrm>
            <a:custGeom>
              <a:avLst/>
              <a:gdLst>
                <a:gd name="connsiteX0" fmla="*/ 0 w 4065934"/>
                <a:gd name="connsiteY0" fmla="*/ 0 h 28800"/>
                <a:gd name="connsiteX1" fmla="*/ 4065934 w 4065934"/>
                <a:gd name="connsiteY1" fmla="*/ 0 h 28800"/>
                <a:gd name="connsiteX2" fmla="*/ 4065934 w 4065934"/>
                <a:gd name="connsiteY2" fmla="*/ 28800 h 28800"/>
                <a:gd name="connsiteX3" fmla="*/ 0 w 40659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5934" h="28800">
                  <a:moveTo>
                    <a:pt x="0" y="0"/>
                  </a:moveTo>
                  <a:lnTo>
                    <a:pt x="4065934" y="0"/>
                  </a:lnTo>
                  <a:lnTo>
                    <a:pt x="4065934" y="28800"/>
                  </a:lnTo>
                  <a:lnTo>
                    <a:pt x="0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EA4A0F1-6203-4D67-AD23-1D958B67E896}"/>
                </a:ext>
              </a:extLst>
            </p:cNvPr>
            <p:cNvSpPr/>
            <p:nvPr userDrawn="1"/>
          </p:nvSpPr>
          <p:spPr>
            <a:xfrm rot="3600000">
              <a:off x="5263046" y="1634033"/>
              <a:ext cx="3831834" cy="28800"/>
            </a:xfrm>
            <a:custGeom>
              <a:avLst/>
              <a:gdLst>
                <a:gd name="connsiteX0" fmla="*/ 0 w 3831834"/>
                <a:gd name="connsiteY0" fmla="*/ 28800 h 28800"/>
                <a:gd name="connsiteX1" fmla="*/ 16628 w 3831834"/>
                <a:gd name="connsiteY1" fmla="*/ 0 h 28800"/>
                <a:gd name="connsiteX2" fmla="*/ 3831834 w 3831834"/>
                <a:gd name="connsiteY2" fmla="*/ 0 h 28800"/>
                <a:gd name="connsiteX3" fmla="*/ 3831834 w 38318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1834" h="28800">
                  <a:moveTo>
                    <a:pt x="0" y="28800"/>
                  </a:moveTo>
                  <a:lnTo>
                    <a:pt x="16628" y="0"/>
                  </a:lnTo>
                  <a:lnTo>
                    <a:pt x="3831834" y="0"/>
                  </a:lnTo>
                  <a:lnTo>
                    <a:pt x="3831834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1A3655E-F98E-45BC-9AFC-FD7169CC23DA}"/>
                </a:ext>
              </a:extLst>
            </p:cNvPr>
            <p:cNvSpPr/>
            <p:nvPr userDrawn="1"/>
          </p:nvSpPr>
          <p:spPr>
            <a:xfrm rot="-3600000">
              <a:off x="5041823" y="5072823"/>
              <a:ext cx="4114377" cy="28800"/>
            </a:xfrm>
            <a:custGeom>
              <a:avLst/>
              <a:gdLst>
                <a:gd name="connsiteX0" fmla="*/ 4114377 w 4114377"/>
                <a:gd name="connsiteY0" fmla="*/ 0 h 28800"/>
                <a:gd name="connsiteX1" fmla="*/ 4114377 w 4114377"/>
                <a:gd name="connsiteY1" fmla="*/ 28800 h 28800"/>
                <a:gd name="connsiteX2" fmla="*/ 16628 w 4114377"/>
                <a:gd name="connsiteY2" fmla="*/ 28800 h 28800"/>
                <a:gd name="connsiteX3" fmla="*/ 0 w 4114377"/>
                <a:gd name="connsiteY3" fmla="*/ 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14377" h="28800">
                  <a:moveTo>
                    <a:pt x="4114377" y="0"/>
                  </a:moveTo>
                  <a:lnTo>
                    <a:pt x="4114377" y="28800"/>
                  </a:lnTo>
                  <a:lnTo>
                    <a:pt x="16628" y="2880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</p:grp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white"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rgbClr val="EDE7DE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4100" b="0" baseline="0">
                <a:solidFill>
                  <a:srgbClr val="EDE7DE"/>
                </a:solidFill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800" spc="0" baseline="0">
                <a:solidFill>
                  <a:srgbClr val="EDE7D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0FA0AFC-4F95-41FA-8CC4-39779B1C081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766798" y="5589501"/>
            <a:ext cx="5713200" cy="216000"/>
          </a:xfrm>
        </p:spPr>
        <p:txBody>
          <a:bodyPr anchor="b" anchorCtr="0"/>
          <a:lstStyle>
            <a:lvl1pPr marL="0" indent="0">
              <a:buFontTx/>
              <a:buNone/>
              <a:defRPr sz="1250" cap="all" spc="0" baseline="0">
                <a:solidFill>
                  <a:srgbClr val="EDE7DE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Sett inn foredragsholder her</a:t>
            </a:r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white">
          <a:xfrm>
            <a:off x="766796" y="5918848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rgbClr val="EDE7D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002912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Picture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ackground">
            <a:extLst>
              <a:ext uri="{FF2B5EF4-FFF2-40B4-BE49-F238E27FC236}">
                <a16:creationId xmlns:a16="http://schemas.microsoft.com/office/drawing/2014/main" id="{7743B014-890B-4A9A-AC34-A2A1377F2DEC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1E18F8-D84D-4A0D-9A5E-E634A2654F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00" y="2302376"/>
            <a:ext cx="5710588" cy="1587113"/>
          </a:xfrm>
        </p:spPr>
        <p:txBody>
          <a:bodyPr anchor="b" anchorCtr="0"/>
          <a:lstStyle>
            <a:lvl1pPr>
              <a:defRPr sz="360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A0535D5-0958-486D-82A1-F25FC81299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4138377"/>
            <a:ext cx="5711788" cy="768987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300" cap="none" spc="0" baseline="0">
                <a:solidFill>
                  <a:srgbClr val="0D4065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BD7C53AA-C9EF-43A5-8B73-706297951FAF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BE26EAAA-0C63-44D3-9F7D-5DF431E0E95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747FC981-B80E-4F6E-853F-4205204CF56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258050" y="2302375"/>
            <a:ext cx="3909223" cy="4561200"/>
          </a:xfrm>
          <a:solidFill>
            <a:schemeClr val="bg1"/>
          </a:solidFill>
        </p:spPr>
        <p:txBody>
          <a:bodyPr lIns="0" tIns="72000" rIns="0" bIns="0" anchor="t" anchorCtr="0"/>
          <a:lstStyle>
            <a:lvl1pPr marL="0" indent="0" algn="ctr">
              <a:buNone/>
              <a:defRPr sz="1200" baseline="0">
                <a:solidFill>
                  <a:srgbClr val="0D4065"/>
                </a:solidFill>
              </a:defRPr>
            </a:lvl1pPr>
          </a:lstStyle>
          <a:p>
            <a:r>
              <a:rPr lang="nb-NO" noProof="1"/>
              <a:t>Sett inn bilde fra Templafy/Mediebank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775967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958A8B80-ADA8-4DEF-AD9B-B0343B3EDAB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800" y="436860"/>
            <a:ext cx="10659600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5025102-6E96-4916-8024-40266DF0B5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766801" y="2311200"/>
            <a:ext cx="10659600" cy="3778450"/>
          </a:xfrm>
        </p:spPr>
        <p:txBody>
          <a:bodyPr rIns="0" anchor="t"/>
          <a:lstStyle>
            <a:lvl1pPr>
              <a:lnSpc>
                <a:spcPct val="100000"/>
              </a:lnSpc>
              <a:spcAft>
                <a:spcPts val="600"/>
              </a:spcAft>
              <a:defRPr sz="1600">
                <a:solidFill>
                  <a:srgbClr val="0D4065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>
                <a:solidFill>
                  <a:srgbClr val="0D4065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1400">
                <a:solidFill>
                  <a:srgbClr val="0D4065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1200">
                <a:solidFill>
                  <a:srgbClr val="0D4065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1200">
                <a:solidFill>
                  <a:srgbClr val="0D4065"/>
                </a:solidFill>
              </a:defRPr>
            </a:lvl5pPr>
            <a:lvl6pPr>
              <a:lnSpc>
                <a:spcPct val="100000"/>
              </a:lnSpc>
              <a:defRPr>
                <a:solidFill>
                  <a:srgbClr val="0D4065"/>
                </a:solidFill>
              </a:defRPr>
            </a:lvl6pPr>
            <a:lvl7pPr>
              <a:lnSpc>
                <a:spcPct val="100000"/>
              </a:lnSpc>
              <a:defRPr>
                <a:solidFill>
                  <a:srgbClr val="0D4065"/>
                </a:solidFill>
              </a:defRPr>
            </a:lvl7pPr>
            <a:lvl8pPr>
              <a:lnSpc>
                <a:spcPct val="100000"/>
              </a:lnSpc>
              <a:defRPr>
                <a:solidFill>
                  <a:srgbClr val="0D4065"/>
                </a:solidFill>
              </a:defRPr>
            </a:lvl8pPr>
            <a:lvl9pPr>
              <a:defRPr>
                <a:solidFill>
                  <a:srgbClr val="0D4065"/>
                </a:solidFill>
              </a:defRPr>
            </a:lvl9pPr>
          </a:lstStyle>
          <a:p>
            <a:pPr lvl="0"/>
            <a:r>
              <a:rPr lang="nb-NO" dirty="0"/>
              <a:t>Klikk for å sette inn tekst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  <a:p>
            <a:pPr lvl="5"/>
            <a:r>
              <a:rPr lang="nb-NO" dirty="0"/>
              <a:t>6</a:t>
            </a:r>
          </a:p>
          <a:p>
            <a:pPr lvl="6"/>
            <a:r>
              <a:rPr lang="nb-NO" dirty="0"/>
              <a:t>7</a:t>
            </a:r>
          </a:p>
          <a:p>
            <a:pPr lvl="7"/>
            <a:r>
              <a:rPr lang="nb-NO" dirty="0"/>
              <a:t>8</a:t>
            </a:r>
          </a:p>
          <a:p>
            <a:pPr lvl="8"/>
            <a:r>
              <a:rPr lang="nb-NO" dirty="0"/>
              <a:t>9</a:t>
            </a: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EF5BAD64-E812-48E9-9EDE-8CAB9F3CB99A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B46E49-D192-4213-801F-0C058B982DB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8B25C58-3F75-43F4-A5DB-2935992A3E3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50862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 userDrawn="1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>
            <a:extLst>
              <a:ext uri="{FF2B5EF4-FFF2-40B4-BE49-F238E27FC236}">
                <a16:creationId xmlns:a16="http://schemas.microsoft.com/office/drawing/2014/main" id="{D8B98C7D-C3F2-43E5-A9EE-BD514B0FC7B0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800" y="435600"/>
            <a:ext cx="10659600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63D9972-5495-41D0-B9D8-64949ED529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342AEF0C-22EC-413B-B75F-78A37B98860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6763" y="2310448"/>
            <a:ext cx="4945062" cy="3779202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defRPr lang="en-GB" sz="1600" dirty="0">
                <a:solidFill>
                  <a:srgbClr val="0D4065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lang="en-GB" sz="1400" dirty="0">
                <a:solidFill>
                  <a:srgbClr val="0D4065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lang="en-GB" sz="1400" dirty="0">
                <a:solidFill>
                  <a:srgbClr val="0D4065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lang="en-GB" sz="1200" dirty="0">
                <a:solidFill>
                  <a:srgbClr val="0D4065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lang="en-GB" sz="1200" dirty="0">
                <a:solidFill>
                  <a:srgbClr val="0D4065"/>
                </a:solidFill>
              </a:defRPr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E4257157-A5A3-4538-B1A3-F1805141E2F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480176" y="2310448"/>
            <a:ext cx="4943473" cy="3779202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GB" sz="1600" dirty="0">
                <a:solidFill>
                  <a:srgbClr val="0D4065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lang="en-GB" sz="1400" dirty="0">
                <a:solidFill>
                  <a:srgbClr val="0D4065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lang="en-GB" sz="1400" dirty="0">
                <a:solidFill>
                  <a:srgbClr val="0D4065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lang="en-GB" sz="1200" dirty="0">
                <a:solidFill>
                  <a:srgbClr val="0D4065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lang="en-GB" sz="1200" dirty="0">
                <a:solidFill>
                  <a:srgbClr val="0D4065"/>
                </a:solidFill>
              </a:defRPr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BB4120F7-DEF4-41C3-8522-11B183EC36E5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179864-C9DD-4F31-A9F6-7C5A4D07CAE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5E22F5-6F3C-4F95-A3DC-FE073C4FD4D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324120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 userDrawn="1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 2">
            <a:extLst>
              <a:ext uri="{FF2B5EF4-FFF2-40B4-BE49-F238E27FC236}">
                <a16:creationId xmlns:a16="http://schemas.microsoft.com/office/drawing/2014/main" id="{075B19B2-D2E5-4FC7-990F-41BE900C7C9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800" y="435600"/>
            <a:ext cx="10659600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AAB13FA-F506-42DD-9BED-12D0CC8738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r>
              <a:rPr lang="nb-NO" noProof="0" dirty="0"/>
              <a:t>Klikk for å sette inn tittel</a:t>
            </a: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520EC5DF-5302-4D19-A0B6-5CECA1391718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27A7C0-69B5-46FA-9874-F1604563551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C2EE2AD-CDD0-4CFB-A349-B4F3FB82CF8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435129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 userDrawn="1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2E7A7CF3-7209-4D76-BC1D-5B8E6034B4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82783D-4458-456A-B2FD-1B2E9AB8B7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17FA11-67F2-45F9-8BB1-154B864625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945061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 userDrawn="1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85318E54-A7C0-43F8-8747-5AE35BED7D2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3601" y="0"/>
            <a:ext cx="5716800" cy="6861600"/>
          </a:xfrm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nb-NO" noProof="0" dirty="0"/>
              <a:t>Klikk for å sette inn bilde fra Templafy/Mediebank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936644A-32CA-43AB-BDA9-AAD9D01700D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6478589" y="435600"/>
            <a:ext cx="4946612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8588" y="979200"/>
            <a:ext cx="4946612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78588" y="2311200"/>
            <a:ext cx="4946612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32" name="Date Placeholder 31" hidden="1">
            <a:extLst>
              <a:ext uri="{FF2B5EF4-FFF2-40B4-BE49-F238E27FC236}">
                <a16:creationId xmlns:a16="http://schemas.microsoft.com/office/drawing/2014/main" id="{34A5A879-CCD3-4C70-A0C4-B662FB8F1198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B22B0618-ACC9-441F-BABE-AB31171E14F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2DF19756-068E-496E-8AC3-C107F2D18C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r>
              <a:rPr lang="en-US"/>
              <a:t>Ipo process and timelin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97695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 userDrawn="1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78587" y="0"/>
            <a:ext cx="5713413" cy="6861600"/>
          </a:xfrm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nb-NO" noProof="0" dirty="0"/>
              <a:t>Klikk for å sette inn bilde fra Templafy/Mediebank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146D5F3-C0AD-461B-A821-5647BDD8B71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5025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5025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4945025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14" name="Date Placeholder 13" hidden="1">
            <a:extLst>
              <a:ext uri="{FF2B5EF4-FFF2-40B4-BE49-F238E27FC236}">
                <a16:creationId xmlns:a16="http://schemas.microsoft.com/office/drawing/2014/main" id="{B54DCDF7-552D-4A06-9B93-608F8C50386B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8910B58-AE79-4984-955C-29D88C01460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D4121A59-5B56-446F-AB4C-8CA2F46056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97906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 userDrawn="1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, Picture 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1"/>
          <p:cNvSpPr>
            <a:spLocks noGrp="1"/>
          </p:cNvSpPr>
          <p:nvPr>
            <p:ph type="pic" sz="quarter" idx="19" hasCustomPrompt="1"/>
          </p:nvPr>
        </p:nvSpPr>
        <p:spPr>
          <a:xfrm>
            <a:off x="8607600" y="0"/>
            <a:ext cx="3585600" cy="6861600"/>
          </a:xfrm>
          <a:noFill/>
        </p:spPr>
        <p:txBody>
          <a:bodyPr lIns="0" tIns="72000" rIns="0" b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Klikk for å sette inn bilde fra Templafy/Mediebank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B6EC6D9C-EAC1-4116-8C17-46FE681CFEB8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800" y="435600"/>
            <a:ext cx="7074000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D990196-F3FD-4433-A3D0-1E1F2F4F15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7074000" cy="1119600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39B207EB-87A6-4C3E-B1E6-FE118EA0E5E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6764" y="2311200"/>
            <a:ext cx="7073899" cy="3778450"/>
          </a:xfrm>
        </p:spPr>
        <p:txBody>
          <a:bodyPr vert="horz" lIns="0" tIns="0" rIns="0" bIns="720000" rtlCol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GB" dirty="0"/>
            </a:lvl1pPr>
            <a:lvl2pPr>
              <a:lnSpc>
                <a:spcPct val="100000"/>
              </a:lnSpc>
              <a:spcAft>
                <a:spcPts val="0"/>
              </a:spcAft>
              <a:defRPr lang="en-GB" dirty="0"/>
            </a:lvl2pPr>
            <a:lvl3pPr>
              <a:lnSpc>
                <a:spcPct val="100000"/>
              </a:lnSpc>
              <a:spcAft>
                <a:spcPts val="0"/>
              </a:spcAft>
              <a:defRPr lang="en-GB" dirty="0"/>
            </a:lvl3pPr>
            <a:lvl4pPr>
              <a:lnSpc>
                <a:spcPct val="100000"/>
              </a:lnSpc>
              <a:spcAft>
                <a:spcPts val="600"/>
              </a:spcAft>
              <a:defRPr lang="en-GB" dirty="0"/>
            </a:lvl4pPr>
            <a:lvl5pPr>
              <a:lnSpc>
                <a:spcPct val="100000"/>
              </a:lnSpc>
              <a:spcAft>
                <a:spcPts val="600"/>
              </a:spcAft>
              <a:defRPr lang="en-GB" dirty="0"/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73A3E0D-DDD7-4028-A069-0832D2B84812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7327AE0-8CD6-4FCB-9097-B4AD857310A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8D30456-73E6-4998-88E5-652EF966299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904669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422" userDrawn="1">
          <p15:clr>
            <a:srgbClr val="A4A3A4"/>
          </p15:clr>
        </p15:guide>
        <p15:guide id="3" pos="4939" userDrawn="1">
          <p15:clr>
            <a:srgbClr val="A4A3A4"/>
          </p15:clr>
        </p15:guide>
        <p15:guide id="4" orient="horz" pos="1455" userDrawn="1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Picture narrow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3601" y="0"/>
            <a:ext cx="3585600" cy="6861600"/>
          </a:xfrm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nb-NO" noProof="0" dirty="0"/>
              <a:t>Klikk for å sette inn bilde fra Templafy/Mediebank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146D5F3-C0AD-461B-A821-5647BDD8B71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349654" y="435600"/>
            <a:ext cx="7073996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653" y="979200"/>
            <a:ext cx="7073996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Klikk for å sette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49653" y="2311200"/>
            <a:ext cx="7073996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3DD50389-31D4-4487-A59F-DA9B12AED3B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3EA2083-0944-4A14-B5BC-561F0B31951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98A352-2006-44E0-A34B-1B361A9E399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r>
              <a:rPr lang="en-US"/>
              <a:t>Ipo process and timelin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96625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39" userDrawn="1">
          <p15:clr>
            <a:srgbClr val="A4A3A4"/>
          </p15:clr>
        </p15:guide>
        <p15:guide id="2" pos="2256" userDrawn="1">
          <p15:clr>
            <a:srgbClr val="A4A3A4"/>
          </p15:clr>
        </p15:guide>
        <p15:guide id="3" orient="horz" pos="1455" userDrawn="1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olo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55459FDF-0BD9-49CD-89AE-6D26E024724E}"/>
              </a:ext>
            </a:extLst>
          </p:cNvPr>
          <p:cNvSpPr/>
          <p:nvPr userDrawn="1"/>
        </p:nvSpPr>
        <p:spPr>
          <a:xfrm>
            <a:off x="8607600" y="0"/>
            <a:ext cx="35856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58A8B80-ADA8-4DEF-AD9B-B0343B3EDAB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799" y="436860"/>
            <a:ext cx="7073863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5025102-6E96-4916-8024-40266DF0B5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99" y="977680"/>
            <a:ext cx="7073863" cy="1118288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766801" y="2311200"/>
            <a:ext cx="7073862" cy="3778450"/>
          </a:xfrm>
        </p:spPr>
        <p:txBody>
          <a:bodyPr rIns="0" anchor="t"/>
          <a:lstStyle>
            <a:lvl1pPr>
              <a:lnSpc>
                <a:spcPct val="100000"/>
              </a:lnSpc>
              <a:spcAft>
                <a:spcPts val="600"/>
              </a:spcAft>
              <a:defRPr sz="1600">
                <a:solidFill>
                  <a:srgbClr val="0D4065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>
                <a:solidFill>
                  <a:srgbClr val="0D4065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1400">
                <a:solidFill>
                  <a:srgbClr val="0D4065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1200">
                <a:solidFill>
                  <a:srgbClr val="0D4065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1200">
                <a:solidFill>
                  <a:srgbClr val="0D4065"/>
                </a:solidFill>
              </a:defRPr>
            </a:lvl5pPr>
            <a:lvl6pPr>
              <a:lnSpc>
                <a:spcPct val="100000"/>
              </a:lnSpc>
              <a:defRPr>
                <a:solidFill>
                  <a:srgbClr val="0D4065"/>
                </a:solidFill>
              </a:defRPr>
            </a:lvl6pPr>
            <a:lvl7pPr>
              <a:lnSpc>
                <a:spcPct val="100000"/>
              </a:lnSpc>
              <a:defRPr>
                <a:solidFill>
                  <a:srgbClr val="0D4065"/>
                </a:solidFill>
              </a:defRPr>
            </a:lvl7pPr>
            <a:lvl8pPr>
              <a:lnSpc>
                <a:spcPct val="100000"/>
              </a:lnSpc>
              <a:defRPr>
                <a:solidFill>
                  <a:srgbClr val="0D4065"/>
                </a:solidFill>
              </a:defRPr>
            </a:lvl8pPr>
            <a:lvl9pPr>
              <a:defRPr>
                <a:solidFill>
                  <a:srgbClr val="0D4065"/>
                </a:solidFill>
              </a:defRPr>
            </a:lvl9pPr>
          </a:lstStyle>
          <a:p>
            <a:pPr lvl="0"/>
            <a:r>
              <a:rPr lang="nb-NO" dirty="0"/>
              <a:t>Klikk for å sette inn tekst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  <a:p>
            <a:pPr lvl="5"/>
            <a:r>
              <a:rPr lang="nb-NO" dirty="0"/>
              <a:t>6</a:t>
            </a:r>
          </a:p>
          <a:p>
            <a:pPr lvl="6"/>
            <a:r>
              <a:rPr lang="nb-NO" dirty="0"/>
              <a:t>7</a:t>
            </a:r>
          </a:p>
          <a:p>
            <a:pPr lvl="7"/>
            <a:r>
              <a:rPr lang="nb-NO" dirty="0"/>
              <a:t>8</a:t>
            </a:r>
          </a:p>
          <a:p>
            <a:pPr lvl="8"/>
            <a:r>
              <a:rPr lang="nb-NO" dirty="0"/>
              <a:t>9</a:t>
            </a: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EF5BAD64-E812-48E9-9EDE-8CAB9F3CB99A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B46E49-D192-4213-801F-0C058B982DB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8B25C58-3F75-43F4-A5DB-2935992A3E3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3D2E90EC-B585-46AD-A9D2-33D58672E03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375949" y="2310448"/>
            <a:ext cx="2047700" cy="3779202"/>
          </a:xfrm>
        </p:spPr>
        <p:txBody>
          <a:bodyPr vert="horz" lIns="0" tIns="0" rIns="0" bIns="0" rtlCol="0" anchor="t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lang="en-GB" sz="2000" dirty="0">
                <a:solidFill>
                  <a:srgbClr val="0D4065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400" dirty="0">
                <a:solidFill>
                  <a:srgbClr val="0D4065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400" dirty="0">
                <a:solidFill>
                  <a:srgbClr val="0D4065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200" dirty="0">
                <a:solidFill>
                  <a:srgbClr val="0D4065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200" dirty="0">
                <a:solidFill>
                  <a:srgbClr val="0D4065"/>
                </a:solidFill>
              </a:defRPr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70172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 userDrawn="1">
          <p15:clr>
            <a:srgbClr val="A4A3A4"/>
          </p15:clr>
        </p15:guide>
        <p15:guide id="3" pos="4326" userDrawn="1">
          <p15:clr>
            <a:srgbClr val="A4A3A4"/>
          </p15:clr>
        </p15:guide>
        <p15:guide id="4" pos="4939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ce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666C3893-E06E-4A6F-8B5D-9D6F29E1D4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64766" y="5186999"/>
            <a:ext cx="2481551" cy="295062"/>
          </a:xfrm>
          <a:prstGeom prst="rect">
            <a:avLst/>
          </a:prstGeom>
        </p:spPr>
      </p:pic>
      <p:grpSp>
        <p:nvGrpSpPr>
          <p:cNvPr id="28" name="Fifth element">
            <a:extLst>
              <a:ext uri="{FF2B5EF4-FFF2-40B4-BE49-F238E27FC236}">
                <a16:creationId xmlns:a16="http://schemas.microsoft.com/office/drawing/2014/main" id="{3FABA7DB-B61C-4597-B8EC-9B1628F38DEB}"/>
              </a:ext>
            </a:extLst>
          </p:cNvPr>
          <p:cNvGrpSpPr/>
          <p:nvPr userDrawn="1"/>
        </p:nvGrpSpPr>
        <p:grpSpPr>
          <a:xfrm>
            <a:off x="7084612" y="-267484"/>
            <a:ext cx="5108588" cy="7411895"/>
            <a:chOff x="7084612" y="-267484"/>
            <a:chExt cx="5108588" cy="7411895"/>
          </a:xfrm>
          <a:solidFill>
            <a:srgbClr val="81AECF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C68A22F-A696-49AB-A8F7-CD1E36206B49}"/>
                </a:ext>
              </a:extLst>
            </p:cNvPr>
            <p:cNvSpPr/>
            <p:nvPr userDrawn="1"/>
          </p:nvSpPr>
          <p:spPr>
            <a:xfrm>
              <a:off x="8127266" y="3286192"/>
              <a:ext cx="4065934" cy="28800"/>
            </a:xfrm>
            <a:custGeom>
              <a:avLst/>
              <a:gdLst>
                <a:gd name="connsiteX0" fmla="*/ 0 w 4065934"/>
                <a:gd name="connsiteY0" fmla="*/ 0 h 28800"/>
                <a:gd name="connsiteX1" fmla="*/ 4065934 w 4065934"/>
                <a:gd name="connsiteY1" fmla="*/ 0 h 28800"/>
                <a:gd name="connsiteX2" fmla="*/ 4065934 w 4065934"/>
                <a:gd name="connsiteY2" fmla="*/ 28800 h 28800"/>
                <a:gd name="connsiteX3" fmla="*/ 0 w 40659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5934" h="28800">
                  <a:moveTo>
                    <a:pt x="0" y="0"/>
                  </a:moveTo>
                  <a:lnTo>
                    <a:pt x="4065934" y="0"/>
                  </a:lnTo>
                  <a:lnTo>
                    <a:pt x="4065934" y="28800"/>
                  </a:lnTo>
                  <a:lnTo>
                    <a:pt x="0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EA4A0F1-6203-4D67-AD23-1D958B67E896}"/>
                </a:ext>
              </a:extLst>
            </p:cNvPr>
            <p:cNvSpPr/>
            <p:nvPr userDrawn="1"/>
          </p:nvSpPr>
          <p:spPr>
            <a:xfrm rot="3600000">
              <a:off x="5263046" y="1634033"/>
              <a:ext cx="3831834" cy="28800"/>
            </a:xfrm>
            <a:custGeom>
              <a:avLst/>
              <a:gdLst>
                <a:gd name="connsiteX0" fmla="*/ 0 w 3831834"/>
                <a:gd name="connsiteY0" fmla="*/ 28800 h 28800"/>
                <a:gd name="connsiteX1" fmla="*/ 16628 w 3831834"/>
                <a:gd name="connsiteY1" fmla="*/ 0 h 28800"/>
                <a:gd name="connsiteX2" fmla="*/ 3831834 w 3831834"/>
                <a:gd name="connsiteY2" fmla="*/ 0 h 28800"/>
                <a:gd name="connsiteX3" fmla="*/ 3831834 w 38318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1834" h="28800">
                  <a:moveTo>
                    <a:pt x="0" y="28800"/>
                  </a:moveTo>
                  <a:lnTo>
                    <a:pt x="16628" y="0"/>
                  </a:lnTo>
                  <a:lnTo>
                    <a:pt x="3831834" y="0"/>
                  </a:lnTo>
                  <a:lnTo>
                    <a:pt x="3831834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1A3655E-F98E-45BC-9AFC-FD7169CC23DA}"/>
                </a:ext>
              </a:extLst>
            </p:cNvPr>
            <p:cNvSpPr/>
            <p:nvPr userDrawn="1"/>
          </p:nvSpPr>
          <p:spPr>
            <a:xfrm rot="-3600000">
              <a:off x="5041823" y="5072823"/>
              <a:ext cx="4114377" cy="28800"/>
            </a:xfrm>
            <a:custGeom>
              <a:avLst/>
              <a:gdLst>
                <a:gd name="connsiteX0" fmla="*/ 4114377 w 4114377"/>
                <a:gd name="connsiteY0" fmla="*/ 0 h 28800"/>
                <a:gd name="connsiteX1" fmla="*/ 4114377 w 4114377"/>
                <a:gd name="connsiteY1" fmla="*/ 28800 h 28800"/>
                <a:gd name="connsiteX2" fmla="*/ 16628 w 4114377"/>
                <a:gd name="connsiteY2" fmla="*/ 28800 h 28800"/>
                <a:gd name="connsiteX3" fmla="*/ 0 w 4114377"/>
                <a:gd name="connsiteY3" fmla="*/ 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14377" h="28800">
                  <a:moveTo>
                    <a:pt x="4114377" y="0"/>
                  </a:moveTo>
                  <a:lnTo>
                    <a:pt x="4114377" y="28800"/>
                  </a:lnTo>
                  <a:lnTo>
                    <a:pt x="16628" y="2880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</p:grp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4100" b="0" baseline="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800" spc="0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0FA0AFC-4F95-41FA-8CC4-39779B1C081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798" y="5589501"/>
            <a:ext cx="5713200" cy="216000"/>
          </a:xfrm>
        </p:spPr>
        <p:txBody>
          <a:bodyPr anchor="b" anchorCtr="0"/>
          <a:lstStyle>
            <a:lvl1pPr marL="0" indent="0"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Sett inn foredragsholder her</a:t>
            </a:r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66796" y="5918848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06912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verlapp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0B5875AF-52CC-466D-9699-51C9E85C9BEF}"/>
              </a:ext>
            </a:extLst>
          </p:cNvPr>
          <p:cNvSpPr/>
          <p:nvPr userDrawn="1"/>
        </p:nvSpPr>
        <p:spPr>
          <a:xfrm>
            <a:off x="8865600" y="0"/>
            <a:ext cx="3326400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146D5F3-C0AD-461B-A821-5647BDD8B71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5025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5025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4945025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14" name="Date Placeholder 13" hidden="1">
            <a:extLst>
              <a:ext uri="{FF2B5EF4-FFF2-40B4-BE49-F238E27FC236}">
                <a16:creationId xmlns:a16="http://schemas.microsoft.com/office/drawing/2014/main" id="{B54DCDF7-552D-4A06-9B93-608F8C50386B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8910B58-AE79-4984-955C-29D88C01460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D4121A59-5B56-446F-AB4C-8CA2F46056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125DFC97-402E-4167-8C1A-542EEB2E2AD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78589" y="1022363"/>
            <a:ext cx="4945061" cy="4812864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Klikk for å sette inn bilde fra Templafy/Mediebank</a:t>
            </a:r>
          </a:p>
        </p:txBody>
      </p:sp>
    </p:spTree>
    <p:extLst>
      <p:ext uri="{BB962C8B-B14F-4D97-AF65-F5344CB8AC3E}">
        <p14:creationId xmlns:p14="http://schemas.microsoft.com/office/powerpoint/2010/main" val="1699887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 userDrawn="1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graphic light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>
            <a:off x="0" y="0"/>
            <a:ext cx="6232649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3437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3438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4945025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734188" y="766763"/>
            <a:ext cx="4689462" cy="5322888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graf eller annet innhold</a:t>
            </a:r>
            <a:endParaRPr lang="nb-NO" dirty="0"/>
          </a:p>
          <a:p>
            <a:pPr lvl="1"/>
            <a:r>
              <a:rPr lang="nb-NO" dirty="0"/>
              <a:t>Second level</a:t>
            </a:r>
          </a:p>
          <a:p>
            <a:pPr lvl="2"/>
            <a:r>
              <a:rPr lang="nb-NO" dirty="0"/>
              <a:t>Third level</a:t>
            </a:r>
          </a:p>
          <a:p>
            <a:pPr lvl="3"/>
            <a:r>
              <a:rPr lang="nb-NO" dirty="0"/>
              <a:t>Fourth level</a:t>
            </a:r>
          </a:p>
          <a:p>
            <a:pPr lvl="4"/>
            <a:r>
              <a:rPr lang="nb-NO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AD0EA-2B9F-44E0-91DB-2531E217B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1DAC93-43E0-4500-8B32-0ED62C5D52A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0651D-6601-4E03-8850-80886F45E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31600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42" userDrawn="1">
          <p15:clr>
            <a:srgbClr val="A4A3A4"/>
          </p15:clr>
        </p15:guide>
        <p15:guide id="2" orient="horz" pos="1455" userDrawn="1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graphic ice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>
            <a:off x="0" y="0"/>
            <a:ext cx="6232649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3437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3438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199"/>
            <a:ext cx="4945025" cy="377845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734188" y="766763"/>
            <a:ext cx="4689462" cy="5322888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graf eller annet innhold</a:t>
            </a:r>
            <a:endParaRPr lang="nb-NO" dirty="0"/>
          </a:p>
          <a:p>
            <a:pPr lvl="1"/>
            <a:r>
              <a:rPr lang="nb-NO" dirty="0"/>
              <a:t>Second level</a:t>
            </a:r>
          </a:p>
          <a:p>
            <a:pPr lvl="2"/>
            <a:r>
              <a:rPr lang="nb-NO" dirty="0"/>
              <a:t>Third level</a:t>
            </a:r>
          </a:p>
          <a:p>
            <a:pPr lvl="3"/>
            <a:r>
              <a:rPr lang="nb-NO" dirty="0"/>
              <a:t>Fourth level</a:t>
            </a:r>
          </a:p>
          <a:p>
            <a:pPr lvl="4"/>
            <a:r>
              <a:rPr lang="nb-NO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AD0EA-2B9F-44E0-91DB-2531E217B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1DAC93-43E0-4500-8B32-0ED62C5D52A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0651D-6601-4E03-8850-80886F45E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19683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42" userDrawn="1">
          <p15:clr>
            <a:srgbClr val="A4A3A4"/>
          </p15:clr>
        </p15:guide>
        <p15:guide id="2" orient="horz" pos="1455" userDrawn="1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keynumber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 flipH="1">
            <a:off x="7127999" y="0"/>
            <a:ext cx="5066673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1" name="Background">
            <a:extLst>
              <a:ext uri="{FF2B5EF4-FFF2-40B4-BE49-F238E27FC236}">
                <a16:creationId xmlns:a16="http://schemas.microsoft.com/office/drawing/2014/main" id="{2DD787C8-872D-4190-AD23-7B71CFACEE7C}"/>
              </a:ext>
            </a:extLst>
          </p:cNvPr>
          <p:cNvSpPr/>
          <p:nvPr userDrawn="1"/>
        </p:nvSpPr>
        <p:spPr>
          <a:xfrm flipH="1">
            <a:off x="7127998" y="0"/>
            <a:ext cx="5066673" cy="34290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5589549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799" y="979200"/>
            <a:ext cx="5589551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5589550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84B1CEF-30F9-4AB6-92CC-F50213A76C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7894801" y="609395"/>
            <a:ext cx="3528848" cy="1839221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7200" spc="0" baseline="0">
                <a:solidFill>
                  <a:srgbClr val="DAE9F8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nb-NO" dirty="0"/>
              <a:t>Skriv tall 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5AEF3602-BD60-4125-9203-09EE50CCD2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7894801" y="2156400"/>
            <a:ext cx="3528848" cy="529200"/>
          </a:xfrm>
        </p:spPr>
        <p:txBody>
          <a:bodyPr lIns="0" rIns="0" bIns="0"/>
          <a:lstStyle>
            <a:lvl1pPr marL="0" indent="0" algn="ctr">
              <a:buNone/>
              <a:defRPr sz="1600" cap="none" baseline="0">
                <a:solidFill>
                  <a:srgbClr val="DAE9F8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64B691F-279F-484D-BFAC-D753BD4CE9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4800" y="4025795"/>
            <a:ext cx="3528849" cy="1839221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7200" spc="0" baseline="0"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Skriv tall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16CF0F1E-3878-4FF4-AD95-0F582C5B11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6607" y="5562000"/>
            <a:ext cx="3535893" cy="527650"/>
          </a:xfrm>
        </p:spPr>
        <p:txBody>
          <a:bodyPr lIns="0" rIns="0"/>
          <a:lstStyle>
            <a:lvl1pPr marL="0" indent="0" algn="ctr">
              <a:buNone/>
              <a:defRPr sz="1600" cap="none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AD0EA-2B9F-44E0-91DB-2531E217B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1DAC93-43E0-4500-8B32-0ED62C5D52A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0651D-6601-4E03-8850-80886F45E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14725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 userDrawn="1">
          <p15:clr>
            <a:srgbClr val="A4A3A4"/>
          </p15:clr>
        </p15:guide>
        <p15:guide id="3" pos="4973" userDrawn="1">
          <p15:clr>
            <a:srgbClr val="A4A3A4"/>
          </p15:clr>
        </p15:guide>
        <p15:guide id="4" pos="4004" userDrawn="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keynumbers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 flipH="1">
            <a:off x="7127999" y="0"/>
            <a:ext cx="5066673" cy="6861600"/>
          </a:xfrm>
          <a:prstGeom prst="rect">
            <a:avLst/>
          </a:prstGeom>
          <a:solidFill>
            <a:srgbClr val="F9F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1" name="Background">
            <a:extLst>
              <a:ext uri="{FF2B5EF4-FFF2-40B4-BE49-F238E27FC236}">
                <a16:creationId xmlns:a16="http://schemas.microsoft.com/office/drawing/2014/main" id="{2DD787C8-872D-4190-AD23-7B71CFACEE7C}"/>
              </a:ext>
            </a:extLst>
          </p:cNvPr>
          <p:cNvSpPr/>
          <p:nvPr userDrawn="1"/>
        </p:nvSpPr>
        <p:spPr>
          <a:xfrm flipH="1">
            <a:off x="7127999" y="0"/>
            <a:ext cx="5066673" cy="34308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5590175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5589550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5589550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84B1CEF-30F9-4AB6-92CC-F50213A76C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7894801" y="608400"/>
            <a:ext cx="3528848" cy="1839221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7200" spc="0" baseline="0">
                <a:solidFill>
                  <a:srgbClr val="0D4065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nb-NO" dirty="0"/>
              <a:t>Skriv tall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5AEF3602-BD60-4125-9203-09EE50CCD2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7894801" y="2156400"/>
            <a:ext cx="3528848" cy="529200"/>
          </a:xfrm>
        </p:spPr>
        <p:txBody>
          <a:bodyPr lIns="0" rIns="0" bIns="0"/>
          <a:lstStyle>
            <a:lvl1pPr marL="0" indent="0" algn="ctr">
              <a:buNone/>
              <a:defRPr sz="1600" cap="none" baseline="0">
                <a:solidFill>
                  <a:srgbClr val="0D4065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64B691F-279F-484D-BFAC-D753BD4CE9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4800" y="4024800"/>
            <a:ext cx="3528849" cy="1839221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7200" spc="0" baseline="0"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Skriv tall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16CF0F1E-3878-4FF4-AD95-0F582C5B11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6607" y="5562000"/>
            <a:ext cx="3535893" cy="529200"/>
          </a:xfrm>
        </p:spPr>
        <p:txBody>
          <a:bodyPr lIns="0" rIns="0"/>
          <a:lstStyle>
            <a:lvl1pPr marL="0" indent="0" algn="ctr">
              <a:buNone/>
              <a:defRPr sz="1600" cap="none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AD0EA-2B9F-44E0-91DB-2531E217B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1DAC93-43E0-4500-8B32-0ED62C5D52A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0651D-6601-4E03-8850-80886F45E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60371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 userDrawn="1">
          <p15:clr>
            <a:srgbClr val="A4A3A4"/>
          </p15:clr>
        </p15:guide>
        <p15:guide id="3" pos="4973" userDrawn="1">
          <p15:clr>
            <a:srgbClr val="A4A3A4"/>
          </p15:clr>
        </p15:guide>
        <p15:guide id="4" pos="4004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nb-NO" noProof="0" dirty="0"/>
              <a:t>Klikk for å sette inn bilde fra Templafy/Mediebank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CEC3D5E-0181-4184-A118-C7DC3A40A818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3A1574-A4DD-4930-84CB-7B8C4CC112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AE843F-DAA0-4AA0-AC11-0D37090624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4738480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Background">
            <a:extLst>
              <a:ext uri="{FF2B5EF4-FFF2-40B4-BE49-F238E27FC236}">
                <a16:creationId xmlns:a16="http://schemas.microsoft.com/office/drawing/2014/main" id="{F6E649E0-F8B0-4A1B-B5C0-80F9F9474ABA}"/>
              </a:ext>
            </a:extLst>
          </p:cNvPr>
          <p:cNvSpPr/>
          <p:nvPr userDrawn="1"/>
        </p:nvSpPr>
        <p:spPr>
          <a:xfrm>
            <a:off x="-1200" y="0"/>
            <a:ext cx="121932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AB75C3-61F0-42D4-BB89-C46F057065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5599" y="2343150"/>
            <a:ext cx="10659600" cy="2103119"/>
          </a:xfrm>
        </p:spPr>
        <p:txBody>
          <a:bodyPr/>
          <a:lstStyle>
            <a:lvl1pPr algn="ctr">
              <a:lnSpc>
                <a:spcPct val="110000"/>
              </a:lnSpc>
              <a:defRPr sz="4000"/>
            </a:lvl1pPr>
          </a:lstStyle>
          <a:p>
            <a:r>
              <a:rPr lang="nb-NO" dirty="0"/>
              <a:t>Klikk for å sette inn sitat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6FD2B66C-44ED-4B31-8E9C-59DC2BC879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2980" y="4876658"/>
            <a:ext cx="10664704" cy="314019"/>
          </a:xfrm>
        </p:spPr>
        <p:txBody>
          <a:bodyPr anchor="b" anchorCtr="0"/>
          <a:lstStyle>
            <a:lvl1pPr marL="0" indent="0" algn="ctr">
              <a:lnSpc>
                <a:spcPct val="90000"/>
              </a:lnSpc>
              <a:buNone/>
              <a:defRPr sz="1800" spc="0" baseline="0"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500" spc="0"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500" spc="0">
                <a:latin typeface="+mj-lt"/>
              </a:defRPr>
            </a:lvl3pPr>
            <a:lvl4pPr marL="0" indent="0">
              <a:lnSpc>
                <a:spcPct val="90000"/>
              </a:lnSpc>
              <a:buNone/>
              <a:defRPr sz="1500" spc="0">
                <a:latin typeface="+mj-lt"/>
              </a:defRPr>
            </a:lvl4pPr>
            <a:lvl5pPr marL="0" indent="0">
              <a:lnSpc>
                <a:spcPct val="90000"/>
              </a:lnSpc>
              <a:buNone/>
              <a:defRPr sz="1500" spc="0">
                <a:latin typeface="+mj-lt"/>
              </a:defRPr>
            </a:lvl5pPr>
          </a:lstStyle>
          <a:p>
            <a:pPr lvl="0"/>
            <a:r>
              <a:rPr lang="nb-NO" dirty="0"/>
              <a:t>Klikk for å sette inn sitatkilde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B39F22F-8D2C-45C0-8084-A7D4B90826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4399" y="5275381"/>
            <a:ext cx="10659599" cy="314020"/>
          </a:xfrm>
        </p:spPr>
        <p:txBody>
          <a:bodyPr/>
          <a:lstStyle>
            <a:lvl1pPr marL="0" indent="0" algn="ctr">
              <a:lnSpc>
                <a:spcPct val="70000"/>
              </a:lnSpc>
              <a:buNone/>
              <a:defRPr sz="1200" cap="all" spc="-10"/>
            </a:lvl1pPr>
            <a:lvl2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2pPr>
            <a:lvl3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3pPr>
            <a:lvl4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4pPr>
            <a:lvl5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pic>
        <p:nvPicPr>
          <p:cNvPr id="34" name="Quotation">
            <a:extLst>
              <a:ext uri="{FF2B5EF4-FFF2-40B4-BE49-F238E27FC236}">
                <a16:creationId xmlns:a16="http://schemas.microsoft.com/office/drawing/2014/main" id="{8FC2DEAE-8177-4C75-804A-08BA480707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78902" y="1671755"/>
            <a:ext cx="221345" cy="240317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E21E10C-10EF-4FDA-85BE-F16D24B4F2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4BDF46-EC90-4A67-ABCE-DFE07B50C5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750ACA1F-3752-4CE9-8B23-7A41D19CA435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0346851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Background">
            <a:extLst>
              <a:ext uri="{FF2B5EF4-FFF2-40B4-BE49-F238E27FC236}">
                <a16:creationId xmlns:a16="http://schemas.microsoft.com/office/drawing/2014/main" id="{F6E649E0-F8B0-4A1B-B5C0-80F9F9474ABA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F0F7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8" name="Background">
            <a:extLst>
              <a:ext uri="{FF2B5EF4-FFF2-40B4-BE49-F238E27FC236}">
                <a16:creationId xmlns:a16="http://schemas.microsoft.com/office/drawing/2014/main" id="{86C42A43-3154-47A4-B931-E3ABA449F5D4}"/>
              </a:ext>
            </a:extLst>
          </p:cNvPr>
          <p:cNvSpPr/>
          <p:nvPr userDrawn="1"/>
        </p:nvSpPr>
        <p:spPr>
          <a:xfrm>
            <a:off x="-3600" y="0"/>
            <a:ext cx="49464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AB75C3-61F0-42D4-BB89-C46F057065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8587" y="2343150"/>
            <a:ext cx="4946612" cy="2103119"/>
          </a:xfrm>
        </p:spPr>
        <p:txBody>
          <a:bodyPr/>
          <a:lstStyle>
            <a:lvl1pPr algn="ctr">
              <a:lnSpc>
                <a:spcPct val="108000"/>
              </a:lnSpc>
              <a:defRPr sz="3000"/>
            </a:lvl1pPr>
          </a:lstStyle>
          <a:p>
            <a:r>
              <a:rPr lang="nb-NO" dirty="0"/>
              <a:t>Klikk for å sette inn sitat</a:t>
            </a: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BF56CAA3-D495-4F90-81E4-A8C57B4EFD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6799" y="1022362"/>
            <a:ext cx="4945026" cy="4813275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200"/>
            </a:lvl1pPr>
          </a:lstStyle>
          <a:p>
            <a:r>
              <a:rPr lang="nb-NO" dirty="0"/>
              <a:t>Klikk for å sette inn bilde fra Templafy/Mediebank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6FD2B66C-44ED-4B31-8E9C-59DC2BC879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8587" y="4652002"/>
            <a:ext cx="4945062" cy="314019"/>
          </a:xfrm>
        </p:spPr>
        <p:txBody>
          <a:bodyPr anchor="b" anchorCtr="0"/>
          <a:lstStyle>
            <a:lvl1pPr marL="0" indent="0" algn="ctr">
              <a:lnSpc>
                <a:spcPct val="90000"/>
              </a:lnSpc>
              <a:buNone/>
              <a:defRPr sz="1800" spc="0" baseline="0"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500" spc="0"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500" spc="0">
                <a:latin typeface="+mj-lt"/>
              </a:defRPr>
            </a:lvl3pPr>
            <a:lvl4pPr marL="0" indent="0">
              <a:lnSpc>
                <a:spcPct val="90000"/>
              </a:lnSpc>
              <a:buNone/>
              <a:defRPr sz="1500" spc="0">
                <a:latin typeface="+mj-lt"/>
              </a:defRPr>
            </a:lvl4pPr>
            <a:lvl5pPr marL="0" indent="0">
              <a:lnSpc>
                <a:spcPct val="90000"/>
              </a:lnSpc>
              <a:buNone/>
              <a:defRPr sz="1500" spc="0">
                <a:latin typeface="+mj-lt"/>
              </a:defRPr>
            </a:lvl5pPr>
          </a:lstStyle>
          <a:p>
            <a:pPr lvl="0"/>
            <a:r>
              <a:rPr lang="nb-NO" dirty="0"/>
              <a:t>Klikk for å sette inn sitatkilde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B39F22F-8D2C-45C0-8084-A7D4B90826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78587" y="5050725"/>
            <a:ext cx="4942695" cy="314020"/>
          </a:xfrm>
        </p:spPr>
        <p:txBody>
          <a:bodyPr/>
          <a:lstStyle>
            <a:lvl1pPr marL="0" indent="0" algn="ctr">
              <a:lnSpc>
                <a:spcPct val="70000"/>
              </a:lnSpc>
              <a:buNone/>
              <a:defRPr sz="1200" cap="all" spc="-10"/>
            </a:lvl1pPr>
            <a:lvl2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2pPr>
            <a:lvl3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3pPr>
            <a:lvl4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4pPr>
            <a:lvl5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pic>
        <p:nvPicPr>
          <p:cNvPr id="34" name="Quotation">
            <a:extLst>
              <a:ext uri="{FF2B5EF4-FFF2-40B4-BE49-F238E27FC236}">
                <a16:creationId xmlns:a16="http://schemas.microsoft.com/office/drawing/2014/main" id="{8FC2DEAE-8177-4C75-804A-08BA480707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78300" y="1740090"/>
            <a:ext cx="221345" cy="240317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E21E10C-10EF-4FDA-85BE-F16D24B4F2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>
                <a:solidFill>
                  <a:srgbClr val="EDE7DE"/>
                </a:solidFill>
              </a:rPr>
              <a:t>Advokatfirmaet Thommessen AS</a:t>
            </a:r>
            <a:r>
              <a:rPr lang="nb-NO" noProof="1"/>
              <a:t>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4BDF46-EC90-4A67-ABCE-DFE07B50C5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750ACA1F-3752-4CE9-8B23-7A41D19CA435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140508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18C0D84B-CCEA-4DFB-A01F-25699BD71E6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66762" y="766763"/>
            <a:ext cx="10656887" cy="5322887"/>
          </a:xfrm>
        </p:spPr>
        <p:txBody>
          <a:bodyPr anchor="ctr" anchorCtr="0"/>
          <a:lstStyle>
            <a:lvl1pPr algn="ctr">
              <a:lnSpc>
                <a:spcPct val="108000"/>
              </a:lnSpc>
              <a:defRPr sz="5000" cap="none" baseline="0">
                <a:solidFill>
                  <a:srgbClr val="EDE7DE"/>
                </a:solidFill>
              </a:defRPr>
            </a:lvl1pPr>
          </a:lstStyle>
          <a:p>
            <a:r>
              <a:rPr lang="nb-NO" dirty="0"/>
              <a:t>Klikk for å sette inn utsagn</a:t>
            </a:r>
          </a:p>
        </p:txBody>
      </p:sp>
      <p:sp>
        <p:nvSpPr>
          <p:cNvPr id="10" name="Date Placeholder 9" hidden="1">
            <a:extLst>
              <a:ext uri="{FF2B5EF4-FFF2-40B4-BE49-F238E27FC236}">
                <a16:creationId xmlns:a16="http://schemas.microsoft.com/office/drawing/2014/main" id="{7086861A-ADD7-40DC-812C-82A5731B5C7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C0C17F2C-D372-48C4-8D56-D41FE9375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CC79E04-34E1-4037-B1A9-4D4E32F9B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5600743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(One) man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Picture Placeholder 2">
            <a:extLst>
              <a:ext uri="{FF2B5EF4-FFF2-40B4-BE49-F238E27FC236}">
                <a16:creationId xmlns:a16="http://schemas.microsoft.com/office/drawing/2014/main" id="{D9E036B2-D51E-4B42-B2DE-3F0AF4B9120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66761" y="1789200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B56B5FA-408E-47CE-B53E-32EDDDB3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009"/>
            <a:ext cx="10658400" cy="326433"/>
          </a:xfrm>
        </p:spPr>
        <p:txBody>
          <a:bodyPr/>
          <a:lstStyle>
            <a:lvl1pPr>
              <a:defRPr sz="2000" spc="0" baseline="0"/>
            </a:lvl1pPr>
          </a:lstStyle>
          <a:p>
            <a:r>
              <a:rPr lang="nb-NO" dirty="0"/>
              <a:t>Klikk for å sette inn team/avdeling/fag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B27A254C-4840-456A-AD28-880E7E306FE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55533" y="1789199"/>
            <a:ext cx="6868116" cy="194400"/>
          </a:xfrm>
        </p:spPr>
        <p:txBody>
          <a:bodyPr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b-NO" sz="1000" kern="1200" cap="all" spc="5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STILLINGSBESKRiVELS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9A72EFCE-2117-4123-9315-06C9720FAE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55532" y="1994400"/>
            <a:ext cx="6868115" cy="1128393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54A5DDC1-3FDC-4572-AA55-01DB7B73B49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52950" y="3376800"/>
            <a:ext cx="6868800" cy="193943"/>
          </a:xfrm>
        </p:spPr>
        <p:txBody>
          <a:bodyPr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1000" kern="1200" cap="all" spc="5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SAkserfaring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5D8E1F7-7D93-4B53-942E-E1646F7C0DD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52950" y="3573367"/>
            <a:ext cx="6870700" cy="2516283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CCDE5864-3BE9-4701-8768-BFCB95833B1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66763" y="3376798"/>
            <a:ext cx="3527425" cy="2712851"/>
          </a:xfrm>
          <a:solidFill>
            <a:srgbClr val="F9F8F7"/>
          </a:solidFill>
        </p:spPr>
        <p:txBody>
          <a:bodyPr lIns="72000" tIns="72000" rIns="72000" bIns="72000" anchor="t" anchorCtr="0"/>
          <a:lstStyle>
            <a:lvl1pPr marL="0" indent="0" algn="l" defTabSz="7200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lang="nb-NO" sz="1000" kern="1200" cap="none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nb-NO" sz="1000" b="1" kern="120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0" indent="0" algn="l" defTabSz="7200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lang="nb-NO" sz="1000" kern="120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0" indent="0" algn="l" defTabSz="7200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lang="nb-NO" sz="1000" kern="120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0" indent="0" defTabSz="72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sz="1000">
                <a:solidFill>
                  <a:srgbClr val="0D4065"/>
                </a:solidFill>
                <a:latin typeface="+mn-lt"/>
              </a:defRPr>
            </a:lvl5pPr>
            <a:lvl6pPr marL="0" indent="0" defTabSz="72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sz="1000">
                <a:solidFill>
                  <a:srgbClr val="0D4065"/>
                </a:solidFill>
                <a:latin typeface="+mn-lt"/>
              </a:defRPr>
            </a:lvl6pPr>
            <a:lvl7pPr marL="0" indent="0" defTabSz="72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sz="1000">
                <a:solidFill>
                  <a:srgbClr val="0D4065"/>
                </a:solidFill>
                <a:latin typeface="+mn-lt"/>
              </a:defRPr>
            </a:lvl7pPr>
            <a:lvl8pPr marL="0" indent="0" defTabSz="72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sz="1000">
                <a:solidFill>
                  <a:srgbClr val="0D4065"/>
                </a:solidFill>
                <a:latin typeface="+mn-lt"/>
              </a:defRPr>
            </a:lvl8pPr>
            <a:lvl9pPr marL="0" indent="0" defTabSz="72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sz="1000">
                <a:solidFill>
                  <a:srgbClr val="0D4065"/>
                </a:solidFill>
                <a:latin typeface="+mn-lt"/>
              </a:defRPr>
            </a:lvl9pPr>
          </a:lstStyle>
          <a:p>
            <a:pPr lvl="0"/>
            <a:r>
              <a:rPr lang="nb-NO" dirty="0"/>
              <a:t>Klikk for å sette inn overskrift "Siste utmerkelser"/"Latest awards". Kopier inn kåringer UFORMATERT fra CV-side på web under "Utmerkelser". Bruk TAB mellom årstall og tekst, og hengende innrykk på tekst.</a:t>
            </a:r>
          </a:p>
          <a:p>
            <a:pPr lvl="1"/>
            <a:r>
              <a:rPr lang="nb-NO" dirty="0"/>
              <a:t>Second level</a:t>
            </a:r>
          </a:p>
          <a:p>
            <a:pPr lvl="2"/>
            <a:r>
              <a:rPr lang="nb-NO" dirty="0"/>
              <a:t>3</a:t>
            </a:r>
          </a:p>
          <a:p>
            <a:pPr lvl="3"/>
            <a:r>
              <a:rPr lang="nb-NO" dirty="0"/>
              <a:t>4</a:t>
            </a:r>
          </a:p>
          <a:p>
            <a:pPr lvl="4"/>
            <a:r>
              <a:rPr lang="nb-NO" dirty="0"/>
              <a:t>5</a:t>
            </a:r>
          </a:p>
          <a:p>
            <a:pPr lvl="5"/>
            <a:r>
              <a:rPr lang="nb-NO" dirty="0"/>
              <a:t>6</a:t>
            </a:r>
          </a:p>
          <a:p>
            <a:pPr lvl="6"/>
            <a:r>
              <a:rPr lang="nb-NO" dirty="0"/>
              <a:t>7</a:t>
            </a:r>
          </a:p>
          <a:p>
            <a:pPr lvl="7"/>
            <a:r>
              <a:rPr lang="nb-NO" dirty="0"/>
              <a:t>8</a:t>
            </a:r>
          </a:p>
          <a:p>
            <a:pPr lvl="8"/>
            <a:r>
              <a:rPr lang="nb-NO" dirty="0"/>
              <a:t>9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60DCD55-DABB-47FC-9D68-6B63C07848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F0D38D-F54F-4F3F-99B0-9D1F6FECE8A3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4D1C50-75ED-45D4-8335-C587C9B5B231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695691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68" userDrawn="1">
          <p15:clr>
            <a:srgbClr val="A4A3A4"/>
          </p15:clr>
        </p15:guide>
        <p15:guide id="2" pos="2705" userDrawn="1">
          <p15:clr>
            <a:srgbClr val="A4A3A4"/>
          </p15:clr>
        </p15:guide>
        <p15:guide id="3" orient="horz" pos="1127" userDrawn="1">
          <p15:clr>
            <a:srgbClr val="A4A3A4"/>
          </p15:clr>
        </p15:guide>
        <p15:guide id="5" pos="623" userDrawn="1">
          <p15:clr>
            <a:srgbClr val="A4A3A4"/>
          </p15:clr>
        </p15:guide>
        <p15:guide id="6" orient="horz" pos="2127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ice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666C3893-E06E-4A6F-8B5D-9D6F29E1D4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5969" y="6228259"/>
            <a:ext cx="2119388" cy="252000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4100" b="0" baseline="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800" spc="0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0FA0AFC-4F95-41FA-8CC4-39779B1C081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798" y="5900400"/>
            <a:ext cx="5713200" cy="216000"/>
          </a:xfrm>
        </p:spPr>
        <p:txBody>
          <a:bodyPr anchor="b" anchorCtr="0"/>
          <a:lstStyle>
            <a:lvl1pPr marL="0" indent="0"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Sett inn foredragsholder her</a:t>
            </a:r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66796" y="6228000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8EBF1B01-D8D1-4606-A0A5-DAEFE48D12A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7116183" y="0"/>
            <a:ext cx="5075817" cy="5835227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Sett inn bilde fra Templafy/Mediebank</a:t>
            </a:r>
          </a:p>
        </p:txBody>
      </p:sp>
    </p:spTree>
    <p:extLst>
      <p:ext uri="{BB962C8B-B14F-4D97-AF65-F5344CB8AC3E}">
        <p14:creationId xmlns:p14="http://schemas.microsoft.com/office/powerpoint/2010/main" val="15395887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(Tw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Picture Placeholder 2">
            <a:extLst>
              <a:ext uri="{FF2B5EF4-FFF2-40B4-BE49-F238E27FC236}">
                <a16:creationId xmlns:a16="http://schemas.microsoft.com/office/drawing/2014/main" id="{D9E036B2-D51E-4B42-B2DE-3F0AF4B9120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66761" y="1789200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5" name="Picture Placeholder 3">
            <a:extLst>
              <a:ext uri="{FF2B5EF4-FFF2-40B4-BE49-F238E27FC236}">
                <a16:creationId xmlns:a16="http://schemas.microsoft.com/office/drawing/2014/main" id="{AA577517-3C61-40E5-8754-BF5D77F42E1D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6764" y="4147566"/>
            <a:ext cx="3528000" cy="1331441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B56B5FA-408E-47CE-B53E-32EDDDB3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009"/>
            <a:ext cx="10658400" cy="326433"/>
          </a:xfrm>
        </p:spPr>
        <p:txBody>
          <a:bodyPr/>
          <a:lstStyle>
            <a:lvl1pPr>
              <a:defRPr sz="2000" spc="0" baseline="0"/>
            </a:lvl1pPr>
          </a:lstStyle>
          <a:p>
            <a:r>
              <a:rPr lang="nb-NO" dirty="0"/>
              <a:t>Klikk for å sette inn team/avdeling/fag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A72EFCE-2117-4123-9315-06C9720FAE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55532" y="1994400"/>
            <a:ext cx="6868115" cy="112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4A5DDC1-3FDC-4572-AA55-01DB7B73B49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52950" y="4146550"/>
            <a:ext cx="6868800" cy="193943"/>
          </a:xfrm>
        </p:spPr>
        <p:txBody>
          <a:bodyPr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1000" kern="1200" cap="all" spc="5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STILLINGSBESKRIVELS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5D8E1F7-7D93-4B53-942E-E1646F7C0DD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52950" y="4343117"/>
            <a:ext cx="6870700" cy="113589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27A254C-4840-456A-AD28-880E7E306FE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55533" y="1789199"/>
            <a:ext cx="6868116" cy="194400"/>
          </a:xfrm>
        </p:spPr>
        <p:txBody>
          <a:bodyPr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b-NO" sz="1000" kern="1200" cap="all" spc="5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STILLINGSBESKriVELSE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60DCD55-DABB-47FC-9D68-6B63C07848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F0D38D-F54F-4F3F-99B0-9D1F6FECE8A3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4D1C50-75ED-45D4-8335-C587C9B5B231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027807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68" userDrawn="1">
          <p15:clr>
            <a:srgbClr val="A4A3A4"/>
          </p15:clr>
        </p15:guide>
        <p15:guide id="2" pos="2705" userDrawn="1">
          <p15:clr>
            <a:srgbClr val="A4A3A4"/>
          </p15:clr>
        </p15:guide>
        <p15:guide id="3" orient="horz" pos="1127" userDrawn="1">
          <p15:clr>
            <a:srgbClr val="A4A3A4"/>
          </p15:clr>
        </p15:guide>
        <p15:guide id="4" orient="horz" pos="2612" userDrawn="1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(F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1B56B5FA-408E-47CE-B53E-32EDDDB3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009"/>
            <a:ext cx="10658400" cy="326433"/>
          </a:xfrm>
        </p:spPr>
        <p:txBody>
          <a:bodyPr/>
          <a:lstStyle>
            <a:lvl1pPr>
              <a:defRPr sz="2000" spc="0" baseline="0"/>
            </a:lvl1pPr>
          </a:lstStyle>
          <a:p>
            <a:r>
              <a:rPr lang="nb-NO" dirty="0"/>
              <a:t>Klikk for å sette inn team/avdeling/fag</a:t>
            </a:r>
          </a:p>
        </p:txBody>
      </p:sp>
      <p:sp>
        <p:nvSpPr>
          <p:cNvPr id="93" name="Picture Placeholder 2">
            <a:extLst>
              <a:ext uri="{FF2B5EF4-FFF2-40B4-BE49-F238E27FC236}">
                <a16:creationId xmlns:a16="http://schemas.microsoft.com/office/drawing/2014/main" id="{D9E036B2-D51E-4B42-B2DE-3F0AF4B9120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66761" y="1224239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B640281B-57B3-4F1C-BAB9-173BB0B2E6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2721113"/>
            <a:ext cx="3527998" cy="85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95" name="Picture Placeholder 3">
            <a:extLst>
              <a:ext uri="{FF2B5EF4-FFF2-40B4-BE49-F238E27FC236}">
                <a16:creationId xmlns:a16="http://schemas.microsoft.com/office/drawing/2014/main" id="{AA577517-3C61-40E5-8754-BF5D77F42E1D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6764" y="3740400"/>
            <a:ext cx="3528000" cy="1331441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A962B11D-2397-4848-946B-56699BED203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6763" y="5234400"/>
            <a:ext cx="3527998" cy="85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99" name="Picture Placeholder 5">
            <a:extLst>
              <a:ext uri="{FF2B5EF4-FFF2-40B4-BE49-F238E27FC236}">
                <a16:creationId xmlns:a16="http://schemas.microsoft.com/office/drawing/2014/main" id="{99B872F8-C8BB-4A8B-B7C2-051F948AFFB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90800" y="1224239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CAFC9C2-6FDA-4957-A7BB-6DB3FCF108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9026" y="2721113"/>
            <a:ext cx="3528000" cy="85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103" name="Picture Placeholder 7">
            <a:extLst>
              <a:ext uri="{FF2B5EF4-FFF2-40B4-BE49-F238E27FC236}">
                <a16:creationId xmlns:a16="http://schemas.microsoft.com/office/drawing/2014/main" id="{9AC935AB-438F-40FC-A90C-5FDCFE525FD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490800" y="3740400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100" name="Text Placeholder 5">
            <a:extLst>
              <a:ext uri="{FF2B5EF4-FFF2-40B4-BE49-F238E27FC236}">
                <a16:creationId xmlns:a16="http://schemas.microsoft.com/office/drawing/2014/main" id="{F17F1BC9-B9EB-4257-8D9C-08F210BF59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9026" y="5234400"/>
            <a:ext cx="3528000" cy="85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60DCD55-DABB-47FC-9D68-6B63C07848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F0D38D-F54F-4F3F-99B0-9D1F6FECE8A3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4D1C50-75ED-45D4-8335-C587C9B5B231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890963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5" userDrawn="1">
          <p15:clr>
            <a:srgbClr val="A4A3A4"/>
          </p15:clr>
        </p15:guide>
        <p15:guide id="2" pos="6311" userDrawn="1">
          <p15:clr>
            <a:srgbClr val="A4A3A4"/>
          </p15:clr>
        </p15:guide>
        <p15:guide id="3" orient="horz" pos="771" userDrawn="1">
          <p15:clr>
            <a:srgbClr val="A4A3A4"/>
          </p15:clr>
        </p15:guide>
        <p15:guide id="4" orient="horz" pos="1714" userDrawn="1">
          <p15:clr>
            <a:srgbClr val="A4A3A4"/>
          </p15:clr>
        </p15:guide>
        <p15:guide id="5" orient="horz" pos="2356" userDrawn="1">
          <p15:clr>
            <a:srgbClr val="A4A3A4"/>
          </p15:clr>
        </p15:guide>
        <p15:guide id="6" orient="horz" pos="3297" userDrawn="1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(Si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1B56B5FA-408E-47CE-B53E-32EDDDB3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009"/>
            <a:ext cx="10658400" cy="326433"/>
          </a:xfrm>
        </p:spPr>
        <p:txBody>
          <a:bodyPr/>
          <a:lstStyle>
            <a:lvl1pPr>
              <a:defRPr sz="2000" spc="0" baseline="0"/>
            </a:lvl1pPr>
          </a:lstStyle>
          <a:p>
            <a:r>
              <a:rPr lang="nb-NO" dirty="0"/>
              <a:t>Klikk for å sette inn team/avdeling/fag</a:t>
            </a:r>
          </a:p>
        </p:txBody>
      </p:sp>
      <p:sp>
        <p:nvSpPr>
          <p:cNvPr id="93" name="Picture Placeholder 2">
            <a:extLst>
              <a:ext uri="{FF2B5EF4-FFF2-40B4-BE49-F238E27FC236}">
                <a16:creationId xmlns:a16="http://schemas.microsoft.com/office/drawing/2014/main" id="{D9E036B2-D51E-4B42-B2DE-3F0AF4B9120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66761" y="1534122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B640281B-57B3-4F1C-BAB9-173BB0B2E6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31722" y="1533600"/>
            <a:ext cx="1280103" cy="1332000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</a:p>
        </p:txBody>
      </p:sp>
      <p:sp>
        <p:nvSpPr>
          <p:cNvPr id="95" name="Picture Placeholder 3">
            <a:extLst>
              <a:ext uri="{FF2B5EF4-FFF2-40B4-BE49-F238E27FC236}">
                <a16:creationId xmlns:a16="http://schemas.microsoft.com/office/drawing/2014/main" id="{AA577517-3C61-40E5-8754-BF5D77F42E1D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6764" y="3003227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8A600C7-0E6A-4001-A31A-953A73467A1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31722" y="3003227"/>
            <a:ext cx="1280103" cy="1332000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</a:p>
        </p:txBody>
      </p:sp>
      <p:sp>
        <p:nvSpPr>
          <p:cNvPr id="97" name="Picture Placeholder 4">
            <a:extLst>
              <a:ext uri="{FF2B5EF4-FFF2-40B4-BE49-F238E27FC236}">
                <a16:creationId xmlns:a16="http://schemas.microsoft.com/office/drawing/2014/main" id="{6AACA1E4-2248-4999-A333-81797CE8E7DC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66764" y="4475397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1C39D92C-28FC-4762-9888-B617EECFBF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31722" y="4475397"/>
            <a:ext cx="1280102" cy="1308011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</a:p>
        </p:txBody>
      </p:sp>
      <p:sp>
        <p:nvSpPr>
          <p:cNvPr id="99" name="Picture Placeholder 5">
            <a:extLst>
              <a:ext uri="{FF2B5EF4-FFF2-40B4-BE49-F238E27FC236}">
                <a16:creationId xmlns:a16="http://schemas.microsoft.com/office/drawing/2014/main" id="{99B872F8-C8BB-4A8B-B7C2-051F948AFFB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70706" y="1533600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100" name="Text Placeholder 5">
            <a:extLst>
              <a:ext uri="{FF2B5EF4-FFF2-40B4-BE49-F238E27FC236}">
                <a16:creationId xmlns:a16="http://schemas.microsoft.com/office/drawing/2014/main" id="{F17F1BC9-B9EB-4257-8D9C-08F210BF59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143600" y="1533600"/>
            <a:ext cx="1281600" cy="1332000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</a:p>
        </p:txBody>
      </p:sp>
      <p:sp>
        <p:nvSpPr>
          <p:cNvPr id="101" name="Picture Placeholder 6">
            <a:extLst>
              <a:ext uri="{FF2B5EF4-FFF2-40B4-BE49-F238E27FC236}">
                <a16:creationId xmlns:a16="http://schemas.microsoft.com/office/drawing/2014/main" id="{13762D0C-AD12-49EE-83FE-611C77B1368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177" y="3003227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102" name="Text Placeholder 6">
            <a:extLst>
              <a:ext uri="{FF2B5EF4-FFF2-40B4-BE49-F238E27FC236}">
                <a16:creationId xmlns:a16="http://schemas.microsoft.com/office/drawing/2014/main" id="{DE1B8178-7ED1-4ED5-B864-78FCF1C8CE2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143600" y="3003227"/>
            <a:ext cx="1281600" cy="1332000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</a:p>
        </p:txBody>
      </p:sp>
      <p:sp>
        <p:nvSpPr>
          <p:cNvPr id="103" name="Picture Placeholder 7">
            <a:extLst>
              <a:ext uri="{FF2B5EF4-FFF2-40B4-BE49-F238E27FC236}">
                <a16:creationId xmlns:a16="http://schemas.microsoft.com/office/drawing/2014/main" id="{9AC935AB-438F-40FC-A90C-5FDCFE525FD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480177" y="4475397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104" name="Text Placeholder 7">
            <a:extLst>
              <a:ext uri="{FF2B5EF4-FFF2-40B4-BE49-F238E27FC236}">
                <a16:creationId xmlns:a16="http://schemas.microsoft.com/office/drawing/2014/main" id="{AD65D34E-7F3E-4A41-B480-1576ABC1F84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143600" y="4475397"/>
            <a:ext cx="1281600" cy="1332000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60DCD55-DABB-47FC-9D68-6B63C07848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F0D38D-F54F-4F3F-99B0-9D1F6FECE8A3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4D1C50-75ED-45D4-8335-C587C9B5B231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418290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1" userDrawn="1">
          <p15:clr>
            <a:srgbClr val="A4A3A4"/>
          </p15:clr>
        </p15:guide>
        <p15:guide id="2" pos="6390" userDrawn="1">
          <p15:clr>
            <a:srgbClr val="A4A3A4"/>
          </p15:clr>
        </p15:guide>
        <p15:guide id="3" pos="6297" userDrawn="1">
          <p15:clr>
            <a:srgbClr val="A4A3A4"/>
          </p15:clr>
        </p15:guide>
        <p15:guide id="4" pos="2705" userDrawn="1">
          <p15:clr>
            <a:srgbClr val="A4A3A4"/>
          </p15:clr>
        </p15:guide>
        <p15:guide id="5" orient="horz" pos="966" userDrawn="1">
          <p15:clr>
            <a:srgbClr val="A4A3A4"/>
          </p15:clr>
        </p15:guide>
        <p15:guide id="6" orient="horz" pos="1891" userDrawn="1">
          <p15:clr>
            <a:srgbClr val="A4A3A4"/>
          </p15:clr>
        </p15:guide>
        <p15:guide id="7" orient="horz" pos="2818" userDrawn="1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ckground">
            <a:extLst>
              <a:ext uri="{FF2B5EF4-FFF2-40B4-BE49-F238E27FC236}">
                <a16:creationId xmlns:a16="http://schemas.microsoft.com/office/drawing/2014/main" id="{18D541EB-4676-4D77-833D-5C1DE078FBF9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91072BF6-F66D-4530-9033-8CC798C50A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65648" y="1656872"/>
            <a:ext cx="3852584" cy="45808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329587F-F816-4B15-9571-7C985297CF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66800" y="2817000"/>
            <a:ext cx="10656850" cy="1224000"/>
          </a:xfrm>
        </p:spPr>
        <p:txBody>
          <a:bodyPr anchor="t" anchorCtr="0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b-NO" sz="3500" b="0" kern="1200" baseline="0" dirty="0">
                <a:solidFill>
                  <a:srgbClr val="EDE7DE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r>
              <a:rPr lang="nb-NO" dirty="0"/>
              <a:t>Klikk for å sette inn tekst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5C7845E-589C-469A-AD5A-DD686CFF635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35C03E47-23E0-4296-90AE-0D8D5F82072A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3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8" name="Slide Number Placeholder 7" hidden="1">
            <a:extLst>
              <a:ext uri="{FF2B5EF4-FFF2-40B4-BE49-F238E27FC236}">
                <a16:creationId xmlns:a16="http://schemas.microsoft.com/office/drawing/2014/main" id="{57EFA0E3-CCA8-4005-A6F7-3BC8CB8BEB22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3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25A3CA-7B54-4510-8217-93CE8EEE986F}"/>
              </a:ext>
            </a:extLst>
          </p:cNvPr>
          <p:cNvSpPr txBox="1"/>
          <p:nvPr userDrawn="1"/>
        </p:nvSpPr>
        <p:spPr>
          <a:xfrm>
            <a:off x="766800" y="5681388"/>
            <a:ext cx="1065685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n-GB" sz="1400" spc="50" baseline="0" dirty="0">
                <a:solidFill>
                  <a:srgbClr val="EDE7DE"/>
                </a:solidFill>
                <a:latin typeface="+mn-lt"/>
              </a:rPr>
              <a:t>thommessen.no</a:t>
            </a:r>
          </a:p>
          <a:p>
            <a:pPr algn="ctr">
              <a:spcAft>
                <a:spcPts val="0"/>
              </a:spcAft>
            </a:pPr>
            <a:r>
              <a:rPr lang="en-GB" sz="1400" spc="50" baseline="0" dirty="0">
                <a:solidFill>
                  <a:srgbClr val="EDE7DE"/>
                </a:solidFill>
                <a:latin typeface="+mn-lt"/>
              </a:rPr>
              <a:t>Oslo •</a:t>
            </a:r>
            <a:r>
              <a:rPr lang="en-GB" sz="1400" spc="50" baseline="0" dirty="0">
                <a:solidFill>
                  <a:srgbClr val="EDE7DE"/>
                </a:solidFill>
                <a:latin typeface="+mn-lt"/>
                <a:sym typeface="Wingdings 2" panose="05020102010507070707" pitchFamily="18" charset="2"/>
              </a:rPr>
              <a:t> Bergen</a:t>
            </a:r>
            <a:r>
              <a:rPr lang="en-GB" sz="1400" spc="50" baseline="0" dirty="0">
                <a:solidFill>
                  <a:srgbClr val="EDE7DE"/>
                </a:solidFill>
                <a:latin typeface="+mn-lt"/>
              </a:rPr>
              <a:t> •</a:t>
            </a:r>
            <a:r>
              <a:rPr lang="en-GB" sz="1400" spc="50" baseline="0" dirty="0">
                <a:solidFill>
                  <a:srgbClr val="EDE7DE"/>
                </a:solidFill>
                <a:latin typeface="+mn-lt"/>
                <a:sym typeface="Wingdings 2" panose="05020102010507070707" pitchFamily="18" charset="2"/>
              </a:rPr>
              <a:t> Stavanger</a:t>
            </a:r>
            <a:r>
              <a:rPr lang="en-GB" sz="1400" spc="50" baseline="0" dirty="0">
                <a:solidFill>
                  <a:srgbClr val="EDE7DE"/>
                </a:solidFill>
                <a:latin typeface="+mn-lt"/>
              </a:rPr>
              <a:t> •</a:t>
            </a:r>
            <a:r>
              <a:rPr lang="en-GB" sz="1400" spc="50" baseline="0" dirty="0">
                <a:solidFill>
                  <a:srgbClr val="EDE7DE"/>
                </a:solidFill>
                <a:latin typeface="+mn-lt"/>
                <a:sym typeface="Wingdings 2" panose="05020102010507070707" pitchFamily="18" charset="2"/>
              </a:rPr>
              <a:t> London</a:t>
            </a:r>
            <a:endParaRPr lang="en-GB" sz="1400" spc="50" baseline="0" dirty="0">
              <a:solidFill>
                <a:srgbClr val="EDE7D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236969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ntact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FF95D769-541B-4E86-9575-6188DA0071C5}"/>
              </a:ext>
            </a:extLst>
          </p:cNvPr>
          <p:cNvSpPr/>
          <p:nvPr userDrawn="1"/>
        </p:nvSpPr>
        <p:spPr>
          <a:xfrm>
            <a:off x="-3600" y="0"/>
            <a:ext cx="7131600" cy="68580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766763"/>
            <a:ext cx="4945025" cy="2510441"/>
          </a:xfrm>
        </p:spPr>
        <p:txBody>
          <a:bodyPr anchor="b" anchorCtr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b-NO" sz="5000" b="0" kern="1200" baseline="0" dirty="0">
                <a:solidFill>
                  <a:srgbClr val="0D4065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r>
              <a:rPr lang="nb-NO" dirty="0"/>
              <a:t>Klikk for å sette inn tekst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8B262DCB-7E95-45C4-81BD-C9B32339E7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895650" y="1775111"/>
            <a:ext cx="3528000" cy="1332000"/>
          </a:xfrm>
          <a:ln w="3175">
            <a:noFill/>
          </a:ln>
          <a:effectLst/>
        </p:spPr>
        <p:txBody>
          <a:bodyPr l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9A13E447-6B91-4BE0-9D6B-AEFE8AAD581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895650" y="3942759"/>
            <a:ext cx="3528000" cy="1332000"/>
          </a:xfrm>
          <a:ln w="3175">
            <a:noFill/>
          </a:ln>
          <a:effectLst/>
        </p:spPr>
        <p:txBody>
          <a:bodyPr l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9175BC7-2091-4CB0-B6C7-6208EBE77A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6763" y="3450516"/>
            <a:ext cx="4945062" cy="1440000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 spc="0" baseline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2pPr>
            <a:lvl3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3pPr>
            <a:lvl4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4pPr>
            <a:lvl5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5pPr>
          </a:lstStyle>
          <a:p>
            <a:pPr lvl="0"/>
            <a:r>
              <a:rPr lang="nb-NO" dirty="0"/>
              <a:t>Sett inn tekst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842C39C7-7332-44F2-B7B6-E047525B173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67DBB8-EB7F-4E23-B19C-8BAA68AC996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7F1F33-6910-4101-8AD6-C11D6128C9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953E51-44E4-44C1-9547-574B62F8D56F}"/>
              </a:ext>
            </a:extLst>
          </p:cNvPr>
          <p:cNvSpPr txBox="1"/>
          <p:nvPr userDrawn="1"/>
        </p:nvSpPr>
        <p:spPr>
          <a:xfrm>
            <a:off x="766800" y="5681388"/>
            <a:ext cx="494502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0"/>
              </a:spcAft>
            </a:pPr>
            <a:r>
              <a:rPr lang="en-GB" sz="1400" spc="50" baseline="0" dirty="0">
                <a:solidFill>
                  <a:srgbClr val="0D4065"/>
                </a:solidFill>
              </a:rPr>
              <a:t>thommessen.no</a:t>
            </a:r>
          </a:p>
          <a:p>
            <a:pPr algn="l">
              <a:spcAft>
                <a:spcPts val="0"/>
              </a:spcAft>
            </a:pPr>
            <a:r>
              <a:rPr lang="en-GB" sz="1400" spc="50" baseline="0" dirty="0">
                <a:solidFill>
                  <a:srgbClr val="0D4065"/>
                </a:solidFill>
                <a:latin typeface="+mn-lt"/>
              </a:rPr>
              <a:t>Oslo •</a:t>
            </a:r>
            <a:r>
              <a:rPr lang="en-GB" sz="1400" spc="50" baseline="0" dirty="0">
                <a:solidFill>
                  <a:srgbClr val="0D4065"/>
                </a:solidFill>
                <a:latin typeface="+mn-lt"/>
                <a:sym typeface="Wingdings 2" panose="05020102010507070707" pitchFamily="18" charset="2"/>
              </a:rPr>
              <a:t> Bergen</a:t>
            </a:r>
            <a:r>
              <a:rPr lang="en-GB" sz="1400" spc="50" baseline="0" dirty="0">
                <a:solidFill>
                  <a:srgbClr val="0D4065"/>
                </a:solidFill>
                <a:latin typeface="+mn-lt"/>
              </a:rPr>
              <a:t> •</a:t>
            </a:r>
            <a:r>
              <a:rPr lang="en-GB" sz="1400" spc="50" baseline="0" dirty="0">
                <a:solidFill>
                  <a:srgbClr val="0D4065"/>
                </a:solidFill>
                <a:latin typeface="+mn-lt"/>
                <a:sym typeface="Wingdings 2" panose="05020102010507070707" pitchFamily="18" charset="2"/>
              </a:rPr>
              <a:t> Stavanger</a:t>
            </a:r>
            <a:r>
              <a:rPr lang="en-GB" sz="1400" spc="50" baseline="0" dirty="0">
                <a:solidFill>
                  <a:srgbClr val="0D4065"/>
                </a:solidFill>
                <a:latin typeface="+mn-lt"/>
              </a:rPr>
              <a:t> •</a:t>
            </a:r>
            <a:r>
              <a:rPr lang="en-GB" sz="1400" spc="50" baseline="0" dirty="0">
                <a:solidFill>
                  <a:srgbClr val="0D4065"/>
                </a:solidFill>
                <a:latin typeface="+mn-lt"/>
                <a:sym typeface="Wingdings 2" panose="05020102010507070707" pitchFamily="18" charset="2"/>
              </a:rPr>
              <a:t> London</a:t>
            </a:r>
            <a:endParaRPr lang="en-GB" sz="1400" spc="50" baseline="0" dirty="0">
              <a:solidFill>
                <a:srgbClr val="0D4065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92848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 userDrawn="1">
          <p15:clr>
            <a:srgbClr val="A4A3A4"/>
          </p15:clr>
        </p15:guide>
        <p15:guide id="4" orient="horz" pos="2483" userDrawn="1">
          <p15:clr>
            <a:srgbClr val="A4A3A4"/>
          </p15:clr>
        </p15:guide>
        <p15:guide id="5" pos="4973" userDrawn="1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200" y="1493850"/>
            <a:ext cx="2700000" cy="4724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PICTURES</a:t>
            </a:r>
            <a:br>
              <a:rPr lang="nb-NO" sz="900" dirty="0">
                <a:latin typeface="+mn-lt"/>
                <a:cs typeface="Arial" panose="020B0604020202020204" pitchFamily="34" charset="0"/>
              </a:rPr>
            </a:br>
            <a:r>
              <a:rPr lang="nb-NO" sz="900" b="0" noProof="1">
                <a:solidFill>
                  <a:schemeClr val="tx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sert corporate picture from Templafy</a:t>
            </a:r>
            <a:endParaRPr lang="nb-NO" altLang="da-DK" sz="900" b="0" noProof="1">
              <a:solidFill>
                <a:schemeClr val="tx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or click th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nb-NO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click on the icon and choos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nb-NO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 If this happens, select the picture, </a:t>
            </a: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GUIDES</a:t>
            </a:r>
            <a:endParaRPr lang="nb-NO" sz="1200" b="1" spc="7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ac: </a:t>
            </a:r>
            <a:r>
              <a:rPr lang="nb-NO" sz="900" b="0" i="0" dirty="0">
                <a:solidFill>
                  <a:srgbClr val="333333"/>
                </a:solidFill>
                <a:effectLst/>
                <a:latin typeface="Open Sans"/>
              </a:rPr>
              <a:t>⌘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+ option + ctrl + G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131600" y="174274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173362" y="3703840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52800" y="1493850"/>
            <a:ext cx="2700000" cy="4585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, click date or page number from or to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eaLnBrk="1" hangingPunct="1">
              <a:spcAft>
                <a:spcPts val="600"/>
              </a:spcAft>
              <a:defRPr/>
            </a:pP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1200" b="0" spc="7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nb-NO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nb-NO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nb-NO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nb-NO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nb-NO" altLang="da-DK" sz="900" b="1" i="0" u="sng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nb-NO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nb-NO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766763" y="780169"/>
            <a:ext cx="10656887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nb-NO" sz="24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992821" y="2049169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22" name="Slide Number Placeholder 10" hidden="1">
            <a:extLst>
              <a:ext uri="{FF2B5EF4-FFF2-40B4-BE49-F238E27FC236}">
                <a16:creationId xmlns:a16="http://schemas.microsoft.com/office/drawing/2014/main" id="{B01A309B-80AB-481C-AE3F-3C56C2C92EE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7131861" y="2985476"/>
            <a:ext cx="341204" cy="321707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2821" y="518776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8B1B4749-2B7E-4474-A2D3-2B2892AD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8288" y="1493850"/>
            <a:ext cx="2448000" cy="372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TEXT STYLES</a:t>
            </a:r>
            <a:endParaRPr lang="nb-NO" altLang="da-DK" sz="1200" b="0" spc="7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nb-NO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nb-NO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nb-NO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nb-NO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nb-NO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endParaRPr lang="nb-NO" sz="900" b="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nb-NO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nb-NO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nb-NO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nb-NO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SLIDES &amp; LAYOUTS</a:t>
            </a:r>
            <a:endParaRPr lang="nb-NO" sz="1600" spc="70" baseline="0" dirty="0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nb-NO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Click on the arrow next to </a:t>
            </a:r>
            <a:r>
              <a:rPr lang="nb-NO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Layout</a:t>
            </a:r>
            <a:br>
              <a:rPr lang="nb-NO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</a:br>
            <a:r>
              <a:rPr lang="nb-NO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to view a dropdown menu of possible slide layouts</a:t>
            </a:r>
            <a:endParaRPr lang="nb-NO" sz="900" dirty="0">
              <a:latin typeface="+mn-lt"/>
              <a:ea typeface="Arial" panose="020B060402020202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2B8CEB7-8718-40FB-BCC9-2AC96094B83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171263" y="4843290"/>
            <a:ext cx="475428" cy="176762"/>
          </a:xfrm>
          <a:prstGeom prst="rect">
            <a:avLst/>
          </a:prstGeom>
        </p:spPr>
      </p:pic>
      <p:pic>
        <p:nvPicPr>
          <p:cNvPr id="29" name="Picture 16">
            <a:extLst>
              <a:ext uri="{FF2B5EF4-FFF2-40B4-BE49-F238E27FC236}">
                <a16:creationId xmlns:a16="http://schemas.microsoft.com/office/drawing/2014/main" id="{1543AAD2-58D2-4DCE-A080-AFA6A459F60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171263" y="4026295"/>
            <a:ext cx="328881" cy="505501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F410AF64-93DE-4C35-8AC4-D2AFA638F572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73961" y="3293140"/>
            <a:ext cx="538465" cy="17284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AAFDC93-9DCC-4CE4-B8D7-6137FEEF048E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171263" y="2581850"/>
            <a:ext cx="457143" cy="2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2529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black">
          <a:xfrm>
            <a:off x="0" y="0"/>
            <a:ext cx="12192000" cy="6861600"/>
          </a:xfrm>
          <a:prstGeom prst="rect">
            <a:avLst/>
          </a:prstGeom>
          <a:solidFill>
            <a:srgbClr val="000000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nb-NO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nb-NO" sz="4400" b="0" noProof="0" dirty="0">
                <a:solidFill>
                  <a:schemeClr val="bg1"/>
                </a:solidFill>
              </a:rPr>
              <a:t>If you see any </a:t>
            </a:r>
            <a:r>
              <a:rPr lang="nb-NO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nb-NO" sz="4400" b="0" i="0" noProof="0" dirty="0">
                <a:solidFill>
                  <a:schemeClr val="bg1"/>
                </a:solidFill>
              </a:rPr>
              <a:t>one</a:t>
            </a:r>
            <a:r>
              <a:rPr lang="nb-NO" sz="4400" b="1" i="1" noProof="0" dirty="0">
                <a:solidFill>
                  <a:schemeClr val="bg1"/>
                </a:solidFill>
              </a:rPr>
              <a:t>,</a:t>
            </a:r>
            <a:br>
              <a:rPr lang="nb-NO" sz="4400" b="0" i="0" noProof="0" dirty="0">
                <a:solidFill>
                  <a:schemeClr val="bg1"/>
                </a:solidFill>
              </a:rPr>
            </a:br>
            <a:r>
              <a:rPr lang="nb-NO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nb-NO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nb-NO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nb-NO" sz="2800" b="0" noProof="0" dirty="0">
                <a:solidFill>
                  <a:schemeClr val="bg1"/>
                </a:solidFill>
              </a:rPr>
            </a:br>
            <a:br>
              <a:rPr lang="nb-NO" sz="2800" b="0" noProof="0" dirty="0">
                <a:solidFill>
                  <a:schemeClr val="bg1"/>
                </a:solidFill>
              </a:rPr>
            </a:br>
            <a:endParaRPr lang="nb-NO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nb-NO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nb-NO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4"/>
            <a:ext cx="10152346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5000" b="1" i="1" noProof="0" dirty="0">
                <a:solidFill>
                  <a:schemeClr val="bg1"/>
                </a:solidFill>
              </a:rPr>
              <a:t>Do not use </a:t>
            </a:r>
            <a:endParaRPr lang="nb-NO" sz="150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346434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nb-NO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nb-NO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nb-NO" sz="1800" b="0" noProof="0" dirty="0">
                <a:solidFill>
                  <a:schemeClr val="bg1"/>
                </a:solidFill>
              </a:rPr>
            </a:br>
            <a:endParaRPr lang="nb-NO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531462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82d1902-1ef9-473f-8da4-8666f277ecd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 2">
            <a:extLst>
              <a:ext uri="{FF2B5EF4-FFF2-40B4-BE49-F238E27FC236}">
                <a16:creationId xmlns:a16="http://schemas.microsoft.com/office/drawing/2014/main" id="{075B19B2-D2E5-4FC7-990F-41BE900C7C9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800" y="435600"/>
            <a:ext cx="10659600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AAB13FA-F506-42DD-9BED-12D0CC8738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r>
              <a:rPr lang="nb-NO" noProof="0" dirty="0"/>
              <a:t>Klikk for å sette inn tittel</a:t>
            </a:r>
            <a:endParaRPr lang="nb-NO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520EC5DF-5302-4D19-A0B6-5CECA1391718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27A7C0-69B5-46FA-9874-F1604563551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C2EE2AD-CDD0-4CFB-A349-B4F3FB82CF8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954861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4100" b="0" baseline="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800" spc="0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0FA0AFC-4F95-41FA-8CC4-39779B1C081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798" y="5900400"/>
            <a:ext cx="5713200" cy="216000"/>
          </a:xfrm>
        </p:spPr>
        <p:txBody>
          <a:bodyPr anchor="b" anchorCtr="0"/>
          <a:lstStyle>
            <a:lvl1pPr marL="0" indent="0"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Sett inn foredragsholder her</a:t>
            </a:r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66796" y="6228000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8EBF1B01-D8D1-4606-A0A5-DAEFE48D12A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7116183" y="0"/>
            <a:ext cx="5075817" cy="5835227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Sett inn bilde fra Templafy/Mediebank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4FFCE1D-578D-455E-B8FA-BEA46081BE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5969" y="6228259"/>
            <a:ext cx="211938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1380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Background">
            <a:extLst>
              <a:ext uri="{FF2B5EF4-FFF2-40B4-BE49-F238E27FC236}">
                <a16:creationId xmlns:a16="http://schemas.microsoft.com/office/drawing/2014/main" id="{1E7F75C0-AA39-4D66-B98B-BBC6C93F81D4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F0F7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6" name="Background">
            <a:extLst>
              <a:ext uri="{FF2B5EF4-FFF2-40B4-BE49-F238E27FC236}">
                <a16:creationId xmlns:a16="http://schemas.microsoft.com/office/drawing/2014/main" id="{C8ABAC56-4FB8-4BBE-BF07-3C1A2B53E016}"/>
              </a:ext>
            </a:extLst>
          </p:cNvPr>
          <p:cNvSpPr/>
          <p:nvPr userDrawn="1"/>
        </p:nvSpPr>
        <p:spPr>
          <a:xfrm>
            <a:off x="8866800" y="0"/>
            <a:ext cx="33264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83A41F11-0393-40B1-B678-188E5C99FF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800"/>
            <a:ext cx="4942239" cy="327600"/>
          </a:xfrm>
        </p:spPr>
        <p:txBody>
          <a:bodyPr tIns="0"/>
          <a:lstStyle>
            <a:lvl1pPr>
              <a:defRPr sz="2000" baseline="0">
                <a:solidFill>
                  <a:srgbClr val="0D4065"/>
                </a:solidFill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930D184A-DDE2-4AC6-8549-6CB40583E6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1860144"/>
            <a:ext cx="4945025" cy="4231093"/>
          </a:xfrm>
        </p:spPr>
        <p:txBody>
          <a:bodyPr/>
          <a:lstStyle>
            <a:lvl1pPr marL="216000" indent="-216000">
              <a:spcAft>
                <a:spcPts val="0"/>
              </a:spcAft>
              <a:buFont typeface="Wingdings" panose="05000000000000000000" pitchFamily="2" charset="2"/>
              <a:buChar char=""/>
              <a:defRPr sz="2400" spc="-10" baseline="0">
                <a:solidFill>
                  <a:srgbClr val="0D4065"/>
                </a:solidFill>
                <a:latin typeface="+mn-lt"/>
              </a:defRPr>
            </a:lvl1pPr>
            <a:lvl2pPr marL="432000" indent="-216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600" baseline="0">
                <a:solidFill>
                  <a:srgbClr val="0D4065"/>
                </a:solidFill>
              </a:defRPr>
            </a:lvl2pPr>
            <a:lvl3pPr marL="648000" indent="-216000">
              <a:lnSpc>
                <a:spcPct val="100000"/>
              </a:lnSpc>
              <a:spcBef>
                <a:spcPts val="600"/>
              </a:spcBef>
              <a:defRPr sz="1400">
                <a:solidFill>
                  <a:srgbClr val="0D4065"/>
                </a:solidFill>
              </a:defRPr>
            </a:lvl3pPr>
            <a:lvl4pPr marL="648000" indent="-216000">
              <a:lnSpc>
                <a:spcPct val="100000"/>
              </a:lnSpc>
              <a:spcBef>
                <a:spcPts val="600"/>
              </a:spcBef>
              <a:defRPr sz="1400">
                <a:solidFill>
                  <a:srgbClr val="0D4065"/>
                </a:solidFill>
              </a:defRPr>
            </a:lvl4pPr>
            <a:lvl5pPr marL="648000" indent="-216000">
              <a:lnSpc>
                <a:spcPct val="100000"/>
              </a:lnSpc>
              <a:spcBef>
                <a:spcPts val="600"/>
              </a:spcBef>
              <a:defRPr sz="1400">
                <a:solidFill>
                  <a:srgbClr val="0D4065"/>
                </a:solidFill>
              </a:defRPr>
            </a:lvl5pPr>
            <a:lvl6pPr marL="648000" indent="-216000">
              <a:lnSpc>
                <a:spcPct val="100000"/>
              </a:lnSpc>
              <a:spcBef>
                <a:spcPts val="600"/>
              </a:spcBef>
              <a:defRPr sz="1400">
                <a:solidFill>
                  <a:srgbClr val="0D4065"/>
                </a:solidFill>
              </a:defRPr>
            </a:lvl6pPr>
            <a:lvl7pPr marL="648000" indent="-216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rgbClr val="0D4065"/>
                </a:solidFill>
                <a:latin typeface="+mn-lt"/>
              </a:defRPr>
            </a:lvl7pPr>
            <a:lvl8pPr marL="648000" indent="-216000">
              <a:lnSpc>
                <a:spcPct val="100000"/>
              </a:lnSpc>
              <a:spcBef>
                <a:spcPts val="600"/>
              </a:spcBef>
              <a:defRPr sz="1400">
                <a:solidFill>
                  <a:srgbClr val="0D4065"/>
                </a:solidFill>
              </a:defRPr>
            </a:lvl8pPr>
            <a:lvl9pPr marL="648000" indent="-216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spc="50" baseline="0">
                <a:solidFill>
                  <a:srgbClr val="0D4065"/>
                </a:solidFill>
                <a:latin typeface="+mn-lt"/>
              </a:defRPr>
            </a:lvl9pPr>
          </a:lstStyle>
          <a:p>
            <a:pPr lvl="0"/>
            <a:r>
              <a:rPr lang="nb-NO" dirty="0"/>
              <a:t>Klikk for å sette inn tekst</a:t>
            </a:r>
          </a:p>
          <a:p>
            <a:pPr lvl="1"/>
            <a:r>
              <a:rPr lang="nb-NO" dirty="0"/>
              <a:t>Second level</a:t>
            </a:r>
          </a:p>
          <a:p>
            <a:pPr lvl="2"/>
            <a:r>
              <a:rPr lang="nb-NO" dirty="0"/>
              <a:t>Third level</a:t>
            </a:r>
          </a:p>
          <a:p>
            <a:pPr lvl="3"/>
            <a:r>
              <a:rPr lang="nb-NO" dirty="0"/>
              <a:t>Fourth level</a:t>
            </a:r>
          </a:p>
          <a:p>
            <a:pPr lvl="4"/>
            <a:r>
              <a:rPr lang="nb-NO" dirty="0"/>
              <a:t>Fifth level</a:t>
            </a:r>
          </a:p>
          <a:p>
            <a:pPr lvl="5"/>
            <a:r>
              <a:rPr lang="nb-NO" dirty="0"/>
              <a:t>6</a:t>
            </a:r>
          </a:p>
          <a:p>
            <a:pPr lvl="6"/>
            <a:r>
              <a:rPr lang="nb-NO" dirty="0"/>
              <a:t>7</a:t>
            </a:r>
          </a:p>
          <a:p>
            <a:pPr lvl="7"/>
            <a:r>
              <a:rPr lang="nb-NO" dirty="0"/>
              <a:t>8</a:t>
            </a:r>
          </a:p>
          <a:p>
            <a:pPr lvl="8"/>
            <a:r>
              <a:rPr lang="nb-NO" dirty="0"/>
              <a:t>9</a:t>
            </a:r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70C8DDA8-8AF3-4EC5-90DF-91B01B963F6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78589" y="1022363"/>
            <a:ext cx="4945061" cy="4812864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Sett inn bilde fra Templafy/Mediebank</a:t>
            </a: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8A5102C3-478C-4B75-87C8-3400329B689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22631A6-BF10-47BB-A9CC-EE722CD6220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410DE46-7A29-47ED-83FB-AD426DDF0D77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>
                <a:solidFill>
                  <a:schemeClr val="accent4"/>
                </a:solidFill>
              </a:rPr>
              <a:pPr>
                <a:tabLst>
                  <a:tab pos="10659600" algn="r"/>
                </a:tabLst>
              </a:pPr>
              <a:t>‹#›</a:t>
            </a:fld>
            <a:endParaRPr lang="nb-NO" noProof="1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317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2" userDrawn="1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xt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F60E1D64-4C6B-487D-B9DB-12AB6C18E6C2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F52E326F-B483-4C19-B8A2-1462956B4B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800"/>
            <a:ext cx="10656000" cy="327600"/>
          </a:xfrm>
        </p:spPr>
        <p:txBody>
          <a:bodyPr tIns="0"/>
          <a:lstStyle>
            <a:lvl1pPr>
              <a:defRPr sz="2000" baseline="0">
                <a:solidFill>
                  <a:srgbClr val="0D4065"/>
                </a:solidFill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22AF8EB-2B57-4D29-957D-27FD942217C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1860144"/>
            <a:ext cx="10656887" cy="4231093"/>
          </a:xfrm>
        </p:spPr>
        <p:txBody>
          <a:bodyPr/>
          <a:lstStyle>
            <a:lvl1pPr marL="216000" indent="-216000">
              <a:spcAft>
                <a:spcPts val="0"/>
              </a:spcAft>
              <a:buFont typeface="Wingdings" panose="05000000000000000000" pitchFamily="2" charset="2"/>
              <a:buChar char=""/>
              <a:defRPr sz="2400" spc="-10" baseline="0">
                <a:solidFill>
                  <a:srgbClr val="0D4065"/>
                </a:solidFill>
                <a:latin typeface="+mn-lt"/>
              </a:defRPr>
            </a:lvl1pPr>
            <a:lvl2pPr marL="432000" indent="-216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600">
                <a:solidFill>
                  <a:srgbClr val="0D4065"/>
                </a:solidFill>
              </a:defRPr>
            </a:lvl2pPr>
            <a:lvl3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3pPr>
            <a:lvl4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4pPr>
            <a:lvl5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5pPr>
            <a:lvl6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6pPr>
            <a:lvl7pPr marL="648000" indent="-216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spc="50" baseline="0">
                <a:solidFill>
                  <a:srgbClr val="0D4065"/>
                </a:solidFill>
                <a:latin typeface="+mn-lt"/>
              </a:defRPr>
            </a:lvl7pPr>
            <a:lvl8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8pPr>
            <a:lvl9pPr marL="648000" indent="-216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spc="50" baseline="0">
                <a:solidFill>
                  <a:srgbClr val="0D4065"/>
                </a:solidFill>
                <a:latin typeface="+mn-lt"/>
              </a:defRPr>
            </a:lvl9pPr>
          </a:lstStyle>
          <a:p>
            <a:pPr lvl="0"/>
            <a:r>
              <a:rPr lang="nb-NO" dirty="0"/>
              <a:t>Klikk for å sette inn tekst</a:t>
            </a:r>
          </a:p>
          <a:p>
            <a:pPr lvl="1"/>
            <a:r>
              <a:rPr lang="nb-NO" dirty="0"/>
              <a:t>Second level</a:t>
            </a:r>
          </a:p>
          <a:p>
            <a:pPr lvl="2"/>
            <a:r>
              <a:rPr lang="nb-NO" dirty="0"/>
              <a:t>Third level</a:t>
            </a:r>
          </a:p>
          <a:p>
            <a:pPr lvl="3"/>
            <a:r>
              <a:rPr lang="nb-NO" dirty="0"/>
              <a:t>Fourth level</a:t>
            </a:r>
          </a:p>
          <a:p>
            <a:pPr lvl="4"/>
            <a:r>
              <a:rPr lang="nb-NO" dirty="0"/>
              <a:t>Fifth level</a:t>
            </a:r>
          </a:p>
          <a:p>
            <a:pPr lvl="5"/>
            <a:r>
              <a:rPr lang="nb-NO" dirty="0"/>
              <a:t>6</a:t>
            </a:r>
          </a:p>
          <a:p>
            <a:pPr lvl="6"/>
            <a:r>
              <a:rPr lang="nb-NO" dirty="0"/>
              <a:t>7</a:t>
            </a:r>
          </a:p>
          <a:p>
            <a:pPr lvl="7"/>
            <a:r>
              <a:rPr lang="nb-NO" dirty="0"/>
              <a:t>8</a:t>
            </a:r>
          </a:p>
          <a:p>
            <a:pPr lvl="8"/>
            <a:r>
              <a:rPr lang="nb-NO" dirty="0"/>
              <a:t>9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2DEDCB01-9FEF-4286-9C1B-3721E755E7B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62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0B2387-AE94-424F-B8C1-1FE12CD3A7BE}"/>
              </a:ext>
            </a:extLst>
          </p:cNvPr>
          <p:cNvSpPr>
            <a:spLocks noGrp="1"/>
          </p:cNvSpPr>
          <p:nvPr>
            <p:ph type="ftr" sz="quarter" idx="63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A35C9BA-35DF-41F4-947A-47B8905846FF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603103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2" userDrawn="1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xt Sn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Background">
            <a:extLst>
              <a:ext uri="{FF2B5EF4-FFF2-40B4-BE49-F238E27FC236}">
                <a16:creationId xmlns:a16="http://schemas.microsoft.com/office/drawing/2014/main" id="{1E7F75C0-AA39-4D66-B98B-BBC6C93F81D4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F0F7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FD494524-1653-4357-8F5F-EEF4605269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800"/>
            <a:ext cx="10656000" cy="327600"/>
          </a:xfrm>
        </p:spPr>
        <p:txBody>
          <a:bodyPr tIns="0"/>
          <a:lstStyle>
            <a:lvl1pPr>
              <a:defRPr sz="2000" baseline="0">
                <a:solidFill>
                  <a:srgbClr val="0D4065"/>
                </a:solidFill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930D184A-DDE2-4AC6-8549-6CB40583E6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1860144"/>
            <a:ext cx="10656887" cy="4231093"/>
          </a:xfrm>
        </p:spPr>
        <p:txBody>
          <a:bodyPr/>
          <a:lstStyle>
            <a:lvl1pPr marL="216000" indent="-216000">
              <a:spcAft>
                <a:spcPts val="0"/>
              </a:spcAft>
              <a:buFont typeface="Wingdings" panose="05000000000000000000" pitchFamily="2" charset="2"/>
              <a:buChar char=""/>
              <a:defRPr sz="2400" spc="-10" baseline="0">
                <a:solidFill>
                  <a:srgbClr val="0D4065"/>
                </a:solidFill>
                <a:latin typeface="+mn-lt"/>
              </a:defRPr>
            </a:lvl1pPr>
            <a:lvl2pPr marL="432000" indent="-216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600">
                <a:solidFill>
                  <a:srgbClr val="0D4065"/>
                </a:solidFill>
              </a:defRPr>
            </a:lvl2pPr>
            <a:lvl3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3pPr>
            <a:lvl4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4pPr>
            <a:lvl5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5pPr>
            <a:lvl6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6pPr>
            <a:lvl7pPr marL="648000" indent="-216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spc="50" baseline="0">
                <a:solidFill>
                  <a:srgbClr val="0D4065"/>
                </a:solidFill>
                <a:latin typeface="+mn-lt"/>
              </a:defRPr>
            </a:lvl7pPr>
            <a:lvl8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8pPr>
            <a:lvl9pPr marL="648000" indent="-216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spc="50" baseline="0">
                <a:solidFill>
                  <a:srgbClr val="0D4065"/>
                </a:solidFill>
                <a:latin typeface="+mn-lt"/>
              </a:defRPr>
            </a:lvl9pPr>
          </a:lstStyle>
          <a:p>
            <a:pPr lvl="0"/>
            <a:r>
              <a:rPr lang="nb-NO" dirty="0"/>
              <a:t>Klikk for å sette inn tekst</a:t>
            </a:r>
          </a:p>
          <a:p>
            <a:pPr lvl="1"/>
            <a:r>
              <a:rPr lang="nb-NO" dirty="0"/>
              <a:t>Second level</a:t>
            </a:r>
          </a:p>
          <a:p>
            <a:pPr lvl="2"/>
            <a:r>
              <a:rPr lang="nb-NO" dirty="0"/>
              <a:t>Third level</a:t>
            </a:r>
          </a:p>
          <a:p>
            <a:pPr lvl="3"/>
            <a:r>
              <a:rPr lang="nb-NO" dirty="0"/>
              <a:t>Fourth level</a:t>
            </a:r>
          </a:p>
          <a:p>
            <a:pPr lvl="4"/>
            <a:r>
              <a:rPr lang="nb-NO" dirty="0"/>
              <a:t>Fifth level</a:t>
            </a:r>
          </a:p>
          <a:p>
            <a:pPr lvl="5"/>
            <a:r>
              <a:rPr lang="nb-NO" dirty="0"/>
              <a:t>6</a:t>
            </a:r>
          </a:p>
          <a:p>
            <a:pPr lvl="6"/>
            <a:r>
              <a:rPr lang="nb-NO" dirty="0"/>
              <a:t>7</a:t>
            </a:r>
          </a:p>
          <a:p>
            <a:pPr lvl="7"/>
            <a:r>
              <a:rPr lang="nb-NO" dirty="0"/>
              <a:t>8</a:t>
            </a:r>
          </a:p>
          <a:p>
            <a:pPr lvl="8"/>
            <a:r>
              <a:rPr lang="nb-NO" dirty="0"/>
              <a:t>9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BD4763D3-18D1-4EB8-8BCD-2CC7B57B2E2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60C88E-4AFE-4F58-A048-1F5C150D2ABC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400B9CA-BDAC-4E13-BB19-E7F9F443B688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95053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2" userDrawn="1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ackground">
            <a:extLst>
              <a:ext uri="{FF2B5EF4-FFF2-40B4-BE49-F238E27FC236}">
                <a16:creationId xmlns:a16="http://schemas.microsoft.com/office/drawing/2014/main" id="{7743B014-890B-4A9A-AC34-A2A1377F2DEC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1E18F8-D84D-4A0D-9A5E-E634A2654F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68000" y="2302376"/>
            <a:ext cx="5710588" cy="1587113"/>
          </a:xfrm>
        </p:spPr>
        <p:txBody>
          <a:bodyPr anchor="b" anchorCtr="0"/>
          <a:lstStyle>
            <a:lvl1pPr>
              <a:defRPr sz="3600" baseline="0">
                <a:solidFill>
                  <a:srgbClr val="EDE7DE"/>
                </a:solidFill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A0535D5-0958-486D-82A1-F25FC81299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766800" y="4138377"/>
            <a:ext cx="5711788" cy="768987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300" cap="none" spc="0" baseline="0">
                <a:solidFill>
                  <a:srgbClr val="EDE7DE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BD7C53AA-C9EF-43A5-8B73-706297951FAF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BE26EAAA-0C63-44D3-9F7D-5DF431E0E952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8"/>
          </p:nvPr>
        </p:nvSpPr>
        <p:spPr bwMode="white"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747FC981-B80E-4F6E-853F-4205204CF56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white"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258050" y="2302375"/>
            <a:ext cx="3909223" cy="4561200"/>
          </a:xfrm>
          <a:solidFill>
            <a:schemeClr val="bg1"/>
          </a:solidFill>
        </p:spPr>
        <p:txBody>
          <a:bodyPr lIns="0" tIns="72000" rIns="0" bIns="0" anchor="t" anchorCtr="0"/>
          <a:lstStyle>
            <a:lvl1pPr marL="0" indent="0" algn="ctr">
              <a:buNone/>
              <a:defRPr sz="1200" baseline="0">
                <a:solidFill>
                  <a:srgbClr val="0D4065"/>
                </a:solidFill>
              </a:defRPr>
            </a:lvl1pPr>
          </a:lstStyle>
          <a:p>
            <a:r>
              <a:rPr lang="nb-NO" noProof="1"/>
              <a:t>Sett inn bilde fra Templafy/Mediebank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810822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Picture ice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ackground">
            <a:extLst>
              <a:ext uri="{FF2B5EF4-FFF2-40B4-BE49-F238E27FC236}">
                <a16:creationId xmlns:a16="http://schemas.microsoft.com/office/drawing/2014/main" id="{7743B014-890B-4A9A-AC34-A2A1377F2DEC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1E18F8-D84D-4A0D-9A5E-E634A2654F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00" y="2302376"/>
            <a:ext cx="5710588" cy="1587113"/>
          </a:xfrm>
        </p:spPr>
        <p:txBody>
          <a:bodyPr anchor="b" anchorCtr="0"/>
          <a:lstStyle>
            <a:lvl1pPr>
              <a:defRPr sz="360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A0535D5-0958-486D-82A1-F25FC81299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4138377"/>
            <a:ext cx="5711788" cy="768987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300" cap="none" spc="0" baseline="0">
                <a:solidFill>
                  <a:srgbClr val="0D4065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BD7C53AA-C9EF-43A5-8B73-706297951FAF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BE26EAAA-0C63-44D3-9F7D-5DF431E0E95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747FC981-B80E-4F6E-853F-4205204CF56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258050" y="2302375"/>
            <a:ext cx="3909223" cy="4561200"/>
          </a:xfrm>
          <a:solidFill>
            <a:schemeClr val="bg1"/>
          </a:solidFill>
        </p:spPr>
        <p:txBody>
          <a:bodyPr lIns="0" tIns="72000" rIns="0" bIns="0" anchor="t" anchorCtr="0"/>
          <a:lstStyle>
            <a:lvl1pPr marL="0" indent="0" algn="ctr">
              <a:buNone/>
              <a:defRPr sz="1200" baseline="0">
                <a:solidFill>
                  <a:srgbClr val="0D4065"/>
                </a:solidFill>
              </a:defRPr>
            </a:lvl1pPr>
          </a:lstStyle>
          <a:p>
            <a:r>
              <a:rPr lang="nb-NO" noProof="1"/>
              <a:t>Sett inn bilde fra Templafy/Mediebank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626054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19B0B10-F4B6-42CE-8C6D-E47F4FD6AA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399745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2" name="think-cell Slide" r:id="rId41" imgW="347" imgH="348" progId="TCLayout.ActiveDocument.1">
                  <p:embed/>
                </p:oleObj>
              </mc:Choice>
              <mc:Fallback>
                <p:oleObj name="think-cell Slide" r:id="rId41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hidden="1">
            <a:extLst>
              <a:ext uri="{FF2B5EF4-FFF2-40B4-BE49-F238E27FC236}">
                <a16:creationId xmlns:a16="http://schemas.microsoft.com/office/drawing/2014/main" id="{4FE50924-276A-49BA-AF2F-61A6233D8C34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Slide Number Placeholder 6">
            <a:extLst>
              <a:ext uri="{FF2B5EF4-FFF2-40B4-BE49-F238E27FC236}">
                <a16:creationId xmlns:a16="http://schemas.microsoft.com/office/drawing/2014/main" id="{C04CBA90-25B2-4002-A310-51481E5A9A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6800" y="6580800"/>
            <a:ext cx="106596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tabLst>
                <a:tab pos="2052000" algn="r"/>
              </a:tabLst>
              <a:defRPr sz="600" cap="all" spc="-10" baseline="0"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pic>
        <p:nvPicPr>
          <p:cNvPr id="13" name="Picture 12" descr="Background pattern&#10;&#10;Description automatically generated" hidden="1">
            <a:extLst>
              <a:ext uri="{FF2B5EF4-FFF2-40B4-BE49-F238E27FC236}">
                <a16:creationId xmlns:a16="http://schemas.microsoft.com/office/drawing/2014/main" id="{C9EAA71A-8261-4441-B7D4-60A0C37E080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4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6800" y="2311200"/>
            <a:ext cx="10658400" cy="3778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 noProof="0" dirty="0"/>
              <a:t>Level 1 (Enter+TAB for next text level, SHIFT+TAB to go back in levels)</a:t>
            </a:r>
          </a:p>
          <a:p>
            <a:pPr lvl="1"/>
            <a:r>
              <a:rPr lang="nb-NO" noProof="0" dirty="0"/>
              <a:t>Level 2</a:t>
            </a:r>
          </a:p>
          <a:p>
            <a:pPr lvl="2"/>
            <a:r>
              <a:rPr lang="nb-NO" noProof="0" dirty="0"/>
              <a:t>Level 3</a:t>
            </a:r>
          </a:p>
          <a:p>
            <a:pPr lvl="3"/>
            <a:r>
              <a:rPr lang="nb-NO" noProof="0" dirty="0"/>
              <a:t>Level 4</a:t>
            </a:r>
          </a:p>
          <a:p>
            <a:pPr lvl="4"/>
            <a:r>
              <a:rPr lang="nb-NO" noProof="0" dirty="0"/>
              <a:t>Level 5</a:t>
            </a:r>
          </a:p>
          <a:p>
            <a:pPr lvl="5"/>
            <a:r>
              <a:rPr lang="nb-NO" noProof="0" dirty="0"/>
              <a:t>Level 6</a:t>
            </a:r>
          </a:p>
          <a:p>
            <a:pPr lvl="6"/>
            <a:r>
              <a:rPr lang="nb-NO" noProof="0" dirty="0"/>
              <a:t>Level 7 Open Sans Semibold 12 pt</a:t>
            </a:r>
          </a:p>
          <a:p>
            <a:pPr lvl="7"/>
            <a:r>
              <a:rPr lang="nb-NO" noProof="0" dirty="0"/>
              <a:t>Level 8</a:t>
            </a:r>
          </a:p>
          <a:p>
            <a:pPr lvl="8"/>
            <a:r>
              <a:rPr lang="nb-NO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800" y="977680"/>
            <a:ext cx="10658400" cy="11182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 dirty="0"/>
              <a:t>Click to add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4547" y="6580800"/>
            <a:ext cx="7800744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cap="all" spc="-10" baseline="0">
                <a:solidFill>
                  <a:srgbClr val="0D4065"/>
                </a:solidFill>
              </a:defRPr>
            </a:lvl1pPr>
          </a:lstStyle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430FC4E-B33B-47A0-B1B7-9AB03E7BF38A}"/>
              </a:ext>
            </a:extLst>
          </p:cNvPr>
          <p:cNvSpPr/>
          <p:nvPr userDrawn="1"/>
        </p:nvSpPr>
        <p:spPr>
          <a:xfrm>
            <a:off x="0" y="0"/>
            <a:ext cx="766800" cy="766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6FEBC6F-46DE-496C-ADF6-7DAB19B9CAAC}"/>
              </a:ext>
            </a:extLst>
          </p:cNvPr>
          <p:cNvSpPr/>
          <p:nvPr userDrawn="1"/>
        </p:nvSpPr>
        <p:spPr>
          <a:xfrm>
            <a:off x="5712600" y="0"/>
            <a:ext cx="766800" cy="766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82FD1705-F240-46C4-876D-A6E5036280C1}"/>
              </a:ext>
            </a:extLst>
          </p:cNvPr>
          <p:cNvSpPr/>
          <p:nvPr userDrawn="1"/>
        </p:nvSpPr>
        <p:spPr>
          <a:xfrm>
            <a:off x="11425200" y="6091200"/>
            <a:ext cx="766800" cy="766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9" name="Date Placeholder 4" hidden="1">
            <a:extLst>
              <a:ext uri="{FF2B5EF4-FFF2-40B4-BE49-F238E27FC236}">
                <a16:creationId xmlns:a16="http://schemas.microsoft.com/office/drawing/2014/main" id="{770EF6FC-F1A0-4B0E-96C7-40EE8889CDD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0500D1-77F7-1936-8925-8FE6534468D4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567363" y="6705600"/>
            <a:ext cx="10858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ctr"/>
            <a:r>
              <a:rPr lang="en-US" sz="1000">
                <a:solidFill>
                  <a:srgbClr val="FFEF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29" r:id="rId2"/>
    <p:sldLayoutId id="2147483774" r:id="rId3"/>
    <p:sldLayoutId id="2147483775" r:id="rId4"/>
    <p:sldLayoutId id="2147483737" r:id="rId5"/>
    <p:sldLayoutId id="2147483799" r:id="rId6"/>
    <p:sldLayoutId id="2147483787" r:id="rId7"/>
    <p:sldLayoutId id="2147483777" r:id="rId8"/>
    <p:sldLayoutId id="2147483776" r:id="rId9"/>
    <p:sldLayoutId id="2147483778" r:id="rId10"/>
    <p:sldLayoutId id="2147483802" r:id="rId11"/>
    <p:sldLayoutId id="2147483811" r:id="rId12"/>
    <p:sldLayoutId id="2147483800" r:id="rId13"/>
    <p:sldLayoutId id="2147483806" r:id="rId14"/>
    <p:sldLayoutId id="2147483758" r:id="rId15"/>
    <p:sldLayoutId id="2147483757" r:id="rId16"/>
    <p:sldLayoutId id="2147483808" r:id="rId17"/>
    <p:sldLayoutId id="2147483782" r:id="rId18"/>
    <p:sldLayoutId id="2147483812" r:id="rId19"/>
    <p:sldLayoutId id="2147483783" r:id="rId20"/>
    <p:sldLayoutId id="2147483784" r:id="rId21"/>
    <p:sldLayoutId id="2147483785" r:id="rId22"/>
    <p:sldLayoutId id="2147483786" r:id="rId23"/>
    <p:sldLayoutId id="2147483814" r:id="rId24"/>
    <p:sldLayoutId id="2147483739" r:id="rId25"/>
    <p:sldLayoutId id="2147483791" r:id="rId26"/>
    <p:sldLayoutId id="2147483789" r:id="rId27"/>
    <p:sldLayoutId id="2147483790" r:id="rId28"/>
    <p:sldLayoutId id="2147483797" r:id="rId29"/>
    <p:sldLayoutId id="2147483796" r:id="rId30"/>
    <p:sldLayoutId id="2147483795" r:id="rId31"/>
    <p:sldLayoutId id="2147483794" r:id="rId32"/>
    <p:sldLayoutId id="2147483792" r:id="rId33"/>
    <p:sldLayoutId id="2147483793" r:id="rId34"/>
    <p:sldLayoutId id="2147483762" r:id="rId35"/>
    <p:sldLayoutId id="2147483751" r:id="rId36"/>
    <p:sldLayoutId id="2147483815" r:id="rId3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rgbClr val="0D4065"/>
          </a:solidFill>
          <a:latin typeface="+mj-lt"/>
          <a:ea typeface="Roboto Slab Light" pitchFamily="2" charset="0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800"/>
        </a:spcBef>
        <a:spcAft>
          <a:spcPts val="600"/>
        </a:spcAft>
        <a:buFont typeface="Arial" panose="020B0604020202020204" pitchFamily="34" charset="0"/>
        <a:buChar char="•"/>
        <a:defRPr sz="1600" kern="1200" spc="50" baseline="0">
          <a:solidFill>
            <a:srgbClr val="0D4065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kern="1200" spc="50" baseline="0">
          <a:solidFill>
            <a:srgbClr val="0D4065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kern="1200" spc="50" baseline="0">
          <a:solidFill>
            <a:srgbClr val="0D4065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defRPr sz="1200" b="0" kern="1200" spc="50" baseline="0">
          <a:solidFill>
            <a:srgbClr val="0D4065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tabLst/>
        <a:defRPr sz="1200" kern="1200" spc="50" baseline="0">
          <a:solidFill>
            <a:srgbClr val="0D4065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defRPr sz="1200" kern="1200" spc="50" baseline="0">
          <a:solidFill>
            <a:srgbClr val="0D4065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​"/>
        <a:defRPr sz="1200" b="0" kern="1200" spc="50" baseline="0">
          <a:solidFill>
            <a:srgbClr val="0D4065"/>
          </a:solidFill>
          <a:latin typeface="Open Sans Semibold" panose="020B0706030804020204" pitchFamily="34" charset="0"/>
          <a:ea typeface="Open Sans Semibold" panose="020B0706030804020204" pitchFamily="34" charset="0"/>
          <a:cs typeface="Open Sans Semibold" panose="020B0706030804020204" pitchFamily="34" charset="0"/>
        </a:defRPr>
      </a:lvl7pPr>
      <a:lvl8pPr marL="1080000" indent="-18000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defRPr sz="1200" b="0" kern="1200" spc="50" baseline="0">
          <a:solidFill>
            <a:srgbClr val="0D4065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000" kern="1200" baseline="0">
          <a:solidFill>
            <a:srgbClr val="0D4065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83" userDrawn="1">
          <p15:clr>
            <a:srgbClr val="A4A3A4"/>
          </p15:clr>
        </p15:guide>
        <p15:guide id="4" orient="horz" pos="483" userDrawn="1">
          <p15:clr>
            <a:srgbClr val="A4A3A4"/>
          </p15:clr>
        </p15:guide>
        <p15:guide id="5" pos="3598" userDrawn="1">
          <p15:clr>
            <a:srgbClr val="A4A3A4"/>
          </p15:clr>
        </p15:guide>
        <p15:guide id="6" pos="4081" userDrawn="1">
          <p15:clr>
            <a:srgbClr val="A4A3A4"/>
          </p15:clr>
        </p15:guide>
        <p15:guide id="7" pos="7196" userDrawn="1">
          <p15:clr>
            <a:srgbClr val="A4A3A4"/>
          </p15:clr>
        </p15:guide>
        <p15:guide id="8" orient="horz" pos="3836" userDrawn="1">
          <p15:clr>
            <a:srgbClr val="A4A3A4"/>
          </p15:clr>
        </p15:guide>
        <p15:guide id="9" orient="horz" pos="27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customXml" Target="../../customXml/item12.xml"/><Relationship Id="rId7" Type="http://schemas.openxmlformats.org/officeDocument/2006/relationships/notesSlide" Target="../notesSlides/notesSlide1.xml"/><Relationship Id="rId2" Type="http://schemas.openxmlformats.org/officeDocument/2006/relationships/customXml" Target="../../customXml/item19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3.xml"/><Relationship Id="rId11" Type="http://schemas.openxmlformats.org/officeDocument/2006/relationships/image" Target="../media/image23.png"/><Relationship Id="rId5" Type="http://schemas.openxmlformats.org/officeDocument/2006/relationships/tags" Target="../tags/tag4.xml"/><Relationship Id="rId10" Type="http://schemas.openxmlformats.org/officeDocument/2006/relationships/image" Target="../media/image22.jpeg"/><Relationship Id="rId4" Type="http://schemas.openxmlformats.org/officeDocument/2006/relationships/tags" Target="../tags/tag3.xml"/><Relationship Id="rId9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13" Type="http://schemas.openxmlformats.org/officeDocument/2006/relationships/image" Target="../media/image28.png"/><Relationship Id="rId18" Type="http://schemas.openxmlformats.org/officeDocument/2006/relationships/image" Target="../media/image33.svg"/><Relationship Id="rId26" Type="http://schemas.openxmlformats.org/officeDocument/2006/relationships/image" Target="../media/image41.svg"/><Relationship Id="rId3" Type="http://schemas.openxmlformats.org/officeDocument/2006/relationships/customXml" Target="../../customXml/item3.xml"/><Relationship Id="rId21" Type="http://schemas.openxmlformats.org/officeDocument/2006/relationships/image" Target="../media/image36.png"/><Relationship Id="rId7" Type="http://schemas.openxmlformats.org/officeDocument/2006/relationships/notesSlide" Target="../notesSlides/notesSlide2.xml"/><Relationship Id="rId12" Type="http://schemas.openxmlformats.org/officeDocument/2006/relationships/image" Target="../media/image27.svg"/><Relationship Id="rId17" Type="http://schemas.openxmlformats.org/officeDocument/2006/relationships/image" Target="../media/image32.png"/><Relationship Id="rId25" Type="http://schemas.openxmlformats.org/officeDocument/2006/relationships/image" Target="../media/image40.png"/><Relationship Id="rId2" Type="http://schemas.openxmlformats.org/officeDocument/2006/relationships/customXml" Target="../../customXml/item17.xml"/><Relationship Id="rId16" Type="http://schemas.openxmlformats.org/officeDocument/2006/relationships/image" Target="../media/image31.svg"/><Relationship Id="rId20" Type="http://schemas.openxmlformats.org/officeDocument/2006/relationships/image" Target="../media/image35.svg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37.xml"/><Relationship Id="rId11" Type="http://schemas.openxmlformats.org/officeDocument/2006/relationships/image" Target="../media/image26.png"/><Relationship Id="rId24" Type="http://schemas.openxmlformats.org/officeDocument/2006/relationships/image" Target="../media/image39.svg"/><Relationship Id="rId5" Type="http://schemas.openxmlformats.org/officeDocument/2006/relationships/tags" Target="../tags/tag6.xml"/><Relationship Id="rId15" Type="http://schemas.openxmlformats.org/officeDocument/2006/relationships/image" Target="../media/image30.png"/><Relationship Id="rId23" Type="http://schemas.openxmlformats.org/officeDocument/2006/relationships/image" Target="../media/image38.png"/><Relationship Id="rId10" Type="http://schemas.openxmlformats.org/officeDocument/2006/relationships/image" Target="../media/image25.jpg"/><Relationship Id="rId19" Type="http://schemas.openxmlformats.org/officeDocument/2006/relationships/image" Target="../media/image34.png"/><Relationship Id="rId4" Type="http://schemas.openxmlformats.org/officeDocument/2006/relationships/tags" Target="../tags/tag5.xml"/><Relationship Id="rId9" Type="http://schemas.openxmlformats.org/officeDocument/2006/relationships/image" Target="../media/image24.bin"/><Relationship Id="rId14" Type="http://schemas.openxmlformats.org/officeDocument/2006/relationships/image" Target="../media/image29.svg"/><Relationship Id="rId22" Type="http://schemas.openxmlformats.org/officeDocument/2006/relationships/image" Target="../media/image37.svg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31.xml"/><Relationship Id="rId21" Type="http://schemas.openxmlformats.org/officeDocument/2006/relationships/tags" Target="../tags/tag26.xml"/><Relationship Id="rId42" Type="http://schemas.openxmlformats.org/officeDocument/2006/relationships/tags" Target="../tags/tag47.xml"/><Relationship Id="rId47" Type="http://schemas.openxmlformats.org/officeDocument/2006/relationships/tags" Target="../tags/tag52.xml"/><Relationship Id="rId63" Type="http://schemas.openxmlformats.org/officeDocument/2006/relationships/tags" Target="../tags/tag68.xml"/><Relationship Id="rId68" Type="http://schemas.openxmlformats.org/officeDocument/2006/relationships/tags" Target="../tags/tag73.xml"/><Relationship Id="rId16" Type="http://schemas.openxmlformats.org/officeDocument/2006/relationships/tags" Target="../tags/tag21.xml"/><Relationship Id="rId11" Type="http://schemas.openxmlformats.org/officeDocument/2006/relationships/tags" Target="../tags/tag16.xml"/><Relationship Id="rId32" Type="http://schemas.openxmlformats.org/officeDocument/2006/relationships/tags" Target="../tags/tag37.xml"/><Relationship Id="rId37" Type="http://schemas.openxmlformats.org/officeDocument/2006/relationships/tags" Target="../tags/tag42.xml"/><Relationship Id="rId53" Type="http://schemas.openxmlformats.org/officeDocument/2006/relationships/tags" Target="../tags/tag58.xml"/><Relationship Id="rId58" Type="http://schemas.openxmlformats.org/officeDocument/2006/relationships/tags" Target="../tags/tag63.xml"/><Relationship Id="rId74" Type="http://schemas.openxmlformats.org/officeDocument/2006/relationships/tags" Target="../tags/tag79.xml"/><Relationship Id="rId79" Type="http://schemas.openxmlformats.org/officeDocument/2006/relationships/tags" Target="../tags/tag84.xml"/><Relationship Id="rId5" Type="http://schemas.openxmlformats.org/officeDocument/2006/relationships/tags" Target="../tags/tag10.xml"/><Relationship Id="rId61" Type="http://schemas.openxmlformats.org/officeDocument/2006/relationships/tags" Target="../tags/tag66.xml"/><Relationship Id="rId82" Type="http://schemas.openxmlformats.org/officeDocument/2006/relationships/oleObject" Target="../embeddings/oleObject4.bin"/><Relationship Id="rId19" Type="http://schemas.openxmlformats.org/officeDocument/2006/relationships/tags" Target="../tags/tag24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tags" Target="../tags/tag32.xml"/><Relationship Id="rId30" Type="http://schemas.openxmlformats.org/officeDocument/2006/relationships/tags" Target="../tags/tag35.xml"/><Relationship Id="rId35" Type="http://schemas.openxmlformats.org/officeDocument/2006/relationships/tags" Target="../tags/tag40.xml"/><Relationship Id="rId43" Type="http://schemas.openxmlformats.org/officeDocument/2006/relationships/tags" Target="../tags/tag48.xml"/><Relationship Id="rId48" Type="http://schemas.openxmlformats.org/officeDocument/2006/relationships/tags" Target="../tags/tag53.xml"/><Relationship Id="rId56" Type="http://schemas.openxmlformats.org/officeDocument/2006/relationships/tags" Target="../tags/tag61.xml"/><Relationship Id="rId64" Type="http://schemas.openxmlformats.org/officeDocument/2006/relationships/tags" Target="../tags/tag69.xml"/><Relationship Id="rId69" Type="http://schemas.openxmlformats.org/officeDocument/2006/relationships/tags" Target="../tags/tag74.xml"/><Relationship Id="rId77" Type="http://schemas.openxmlformats.org/officeDocument/2006/relationships/tags" Target="../tags/tag82.xml"/><Relationship Id="rId8" Type="http://schemas.openxmlformats.org/officeDocument/2006/relationships/tags" Target="../tags/tag13.xml"/><Relationship Id="rId51" Type="http://schemas.openxmlformats.org/officeDocument/2006/relationships/tags" Target="../tags/tag56.xml"/><Relationship Id="rId72" Type="http://schemas.openxmlformats.org/officeDocument/2006/relationships/tags" Target="../tags/tag77.xml"/><Relationship Id="rId80" Type="http://schemas.openxmlformats.org/officeDocument/2006/relationships/slideLayout" Target="../slideLayouts/slideLayout13.xml"/><Relationship Id="rId3" Type="http://schemas.openxmlformats.org/officeDocument/2006/relationships/tags" Target="../tags/tag8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33" Type="http://schemas.openxmlformats.org/officeDocument/2006/relationships/tags" Target="../tags/tag38.xml"/><Relationship Id="rId38" Type="http://schemas.openxmlformats.org/officeDocument/2006/relationships/tags" Target="../tags/tag43.xml"/><Relationship Id="rId46" Type="http://schemas.openxmlformats.org/officeDocument/2006/relationships/tags" Target="../tags/tag51.xml"/><Relationship Id="rId59" Type="http://schemas.openxmlformats.org/officeDocument/2006/relationships/tags" Target="../tags/tag64.xml"/><Relationship Id="rId67" Type="http://schemas.openxmlformats.org/officeDocument/2006/relationships/tags" Target="../tags/tag72.xml"/><Relationship Id="rId20" Type="http://schemas.openxmlformats.org/officeDocument/2006/relationships/tags" Target="../tags/tag25.xml"/><Relationship Id="rId41" Type="http://schemas.openxmlformats.org/officeDocument/2006/relationships/tags" Target="../tags/tag46.xml"/><Relationship Id="rId54" Type="http://schemas.openxmlformats.org/officeDocument/2006/relationships/tags" Target="../tags/tag59.xml"/><Relationship Id="rId62" Type="http://schemas.openxmlformats.org/officeDocument/2006/relationships/tags" Target="../tags/tag67.xml"/><Relationship Id="rId70" Type="http://schemas.openxmlformats.org/officeDocument/2006/relationships/tags" Target="../tags/tag75.xml"/><Relationship Id="rId75" Type="http://schemas.openxmlformats.org/officeDocument/2006/relationships/tags" Target="../tags/tag80.xml"/><Relationship Id="rId83" Type="http://schemas.openxmlformats.org/officeDocument/2006/relationships/image" Target="../media/image42.bin"/><Relationship Id="rId1" Type="http://schemas.openxmlformats.org/officeDocument/2006/relationships/vmlDrawing" Target="../drawings/vmlDrawing4.vml"/><Relationship Id="rId6" Type="http://schemas.openxmlformats.org/officeDocument/2006/relationships/tags" Target="../tags/tag11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tags" Target="../tags/tag33.xml"/><Relationship Id="rId36" Type="http://schemas.openxmlformats.org/officeDocument/2006/relationships/tags" Target="../tags/tag41.xml"/><Relationship Id="rId49" Type="http://schemas.openxmlformats.org/officeDocument/2006/relationships/tags" Target="../tags/tag54.xml"/><Relationship Id="rId57" Type="http://schemas.openxmlformats.org/officeDocument/2006/relationships/tags" Target="../tags/tag62.xml"/><Relationship Id="rId10" Type="http://schemas.openxmlformats.org/officeDocument/2006/relationships/tags" Target="../tags/tag15.xml"/><Relationship Id="rId31" Type="http://schemas.openxmlformats.org/officeDocument/2006/relationships/tags" Target="../tags/tag36.xml"/><Relationship Id="rId44" Type="http://schemas.openxmlformats.org/officeDocument/2006/relationships/tags" Target="../tags/tag49.xml"/><Relationship Id="rId52" Type="http://schemas.openxmlformats.org/officeDocument/2006/relationships/tags" Target="../tags/tag57.xml"/><Relationship Id="rId60" Type="http://schemas.openxmlformats.org/officeDocument/2006/relationships/tags" Target="../tags/tag65.xml"/><Relationship Id="rId65" Type="http://schemas.openxmlformats.org/officeDocument/2006/relationships/tags" Target="../tags/tag70.xml"/><Relationship Id="rId73" Type="http://schemas.openxmlformats.org/officeDocument/2006/relationships/tags" Target="../tags/tag78.xml"/><Relationship Id="rId78" Type="http://schemas.openxmlformats.org/officeDocument/2006/relationships/tags" Target="../tags/tag83.xml"/><Relationship Id="rId81" Type="http://schemas.openxmlformats.org/officeDocument/2006/relationships/notesSlide" Target="../notesSlides/notesSlide3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39" Type="http://schemas.openxmlformats.org/officeDocument/2006/relationships/tags" Target="../tags/tag44.xml"/><Relationship Id="rId34" Type="http://schemas.openxmlformats.org/officeDocument/2006/relationships/tags" Target="../tags/tag39.xml"/><Relationship Id="rId50" Type="http://schemas.openxmlformats.org/officeDocument/2006/relationships/tags" Target="../tags/tag55.xml"/><Relationship Id="rId55" Type="http://schemas.openxmlformats.org/officeDocument/2006/relationships/tags" Target="../tags/tag60.xml"/><Relationship Id="rId76" Type="http://schemas.openxmlformats.org/officeDocument/2006/relationships/tags" Target="../tags/tag81.xml"/><Relationship Id="rId7" Type="http://schemas.openxmlformats.org/officeDocument/2006/relationships/tags" Target="../tags/tag12.xml"/><Relationship Id="rId71" Type="http://schemas.openxmlformats.org/officeDocument/2006/relationships/tags" Target="../tags/tag76.xml"/><Relationship Id="rId2" Type="http://schemas.openxmlformats.org/officeDocument/2006/relationships/tags" Target="../tags/tag7.xml"/><Relationship Id="rId29" Type="http://schemas.openxmlformats.org/officeDocument/2006/relationships/tags" Target="../tags/tag34.xml"/><Relationship Id="rId24" Type="http://schemas.openxmlformats.org/officeDocument/2006/relationships/tags" Target="../tags/tag29.xml"/><Relationship Id="rId40" Type="http://schemas.openxmlformats.org/officeDocument/2006/relationships/tags" Target="../tags/tag45.xml"/><Relationship Id="rId45" Type="http://schemas.openxmlformats.org/officeDocument/2006/relationships/tags" Target="../tags/tag50.xml"/><Relationship Id="rId66" Type="http://schemas.openxmlformats.org/officeDocument/2006/relationships/tags" Target="../tags/tag71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109.xml"/><Relationship Id="rId21" Type="http://schemas.openxmlformats.org/officeDocument/2006/relationships/tags" Target="../tags/tag104.xml"/><Relationship Id="rId42" Type="http://schemas.openxmlformats.org/officeDocument/2006/relationships/tags" Target="../tags/tag125.xml"/><Relationship Id="rId47" Type="http://schemas.openxmlformats.org/officeDocument/2006/relationships/tags" Target="../tags/tag130.xml"/><Relationship Id="rId63" Type="http://schemas.openxmlformats.org/officeDocument/2006/relationships/tags" Target="../tags/tag146.xml"/><Relationship Id="rId68" Type="http://schemas.openxmlformats.org/officeDocument/2006/relationships/tags" Target="../tags/tag151.xml"/><Relationship Id="rId2" Type="http://schemas.openxmlformats.org/officeDocument/2006/relationships/tags" Target="../tags/tag85.xml"/><Relationship Id="rId16" Type="http://schemas.openxmlformats.org/officeDocument/2006/relationships/tags" Target="../tags/tag99.xml"/><Relationship Id="rId29" Type="http://schemas.openxmlformats.org/officeDocument/2006/relationships/tags" Target="../tags/tag112.xml"/><Relationship Id="rId11" Type="http://schemas.openxmlformats.org/officeDocument/2006/relationships/tags" Target="../tags/tag94.xml"/><Relationship Id="rId24" Type="http://schemas.openxmlformats.org/officeDocument/2006/relationships/tags" Target="../tags/tag107.xml"/><Relationship Id="rId32" Type="http://schemas.openxmlformats.org/officeDocument/2006/relationships/tags" Target="../tags/tag115.xml"/><Relationship Id="rId37" Type="http://schemas.openxmlformats.org/officeDocument/2006/relationships/tags" Target="../tags/tag120.xml"/><Relationship Id="rId40" Type="http://schemas.openxmlformats.org/officeDocument/2006/relationships/tags" Target="../tags/tag123.xml"/><Relationship Id="rId45" Type="http://schemas.openxmlformats.org/officeDocument/2006/relationships/tags" Target="../tags/tag128.xml"/><Relationship Id="rId53" Type="http://schemas.openxmlformats.org/officeDocument/2006/relationships/tags" Target="../tags/tag136.xml"/><Relationship Id="rId58" Type="http://schemas.openxmlformats.org/officeDocument/2006/relationships/tags" Target="../tags/tag141.xml"/><Relationship Id="rId66" Type="http://schemas.openxmlformats.org/officeDocument/2006/relationships/tags" Target="../tags/tag149.xml"/><Relationship Id="rId74" Type="http://schemas.openxmlformats.org/officeDocument/2006/relationships/oleObject" Target="../embeddings/oleObject5.bin"/><Relationship Id="rId5" Type="http://schemas.openxmlformats.org/officeDocument/2006/relationships/tags" Target="../tags/tag88.xml"/><Relationship Id="rId61" Type="http://schemas.openxmlformats.org/officeDocument/2006/relationships/tags" Target="../tags/tag144.xml"/><Relationship Id="rId19" Type="http://schemas.openxmlformats.org/officeDocument/2006/relationships/tags" Target="../tags/tag102.xml"/><Relationship Id="rId14" Type="http://schemas.openxmlformats.org/officeDocument/2006/relationships/tags" Target="../tags/tag97.xml"/><Relationship Id="rId22" Type="http://schemas.openxmlformats.org/officeDocument/2006/relationships/tags" Target="../tags/tag105.xml"/><Relationship Id="rId27" Type="http://schemas.openxmlformats.org/officeDocument/2006/relationships/tags" Target="../tags/tag110.xml"/><Relationship Id="rId30" Type="http://schemas.openxmlformats.org/officeDocument/2006/relationships/tags" Target="../tags/tag113.xml"/><Relationship Id="rId35" Type="http://schemas.openxmlformats.org/officeDocument/2006/relationships/tags" Target="../tags/tag118.xml"/><Relationship Id="rId43" Type="http://schemas.openxmlformats.org/officeDocument/2006/relationships/tags" Target="../tags/tag126.xml"/><Relationship Id="rId48" Type="http://schemas.openxmlformats.org/officeDocument/2006/relationships/tags" Target="../tags/tag131.xml"/><Relationship Id="rId56" Type="http://schemas.openxmlformats.org/officeDocument/2006/relationships/tags" Target="../tags/tag139.xml"/><Relationship Id="rId64" Type="http://schemas.openxmlformats.org/officeDocument/2006/relationships/tags" Target="../tags/tag147.xml"/><Relationship Id="rId69" Type="http://schemas.openxmlformats.org/officeDocument/2006/relationships/tags" Target="../tags/tag152.xml"/><Relationship Id="rId8" Type="http://schemas.openxmlformats.org/officeDocument/2006/relationships/tags" Target="../tags/tag91.xml"/><Relationship Id="rId51" Type="http://schemas.openxmlformats.org/officeDocument/2006/relationships/tags" Target="../tags/tag134.xml"/><Relationship Id="rId72" Type="http://schemas.openxmlformats.org/officeDocument/2006/relationships/slideLayout" Target="../slideLayouts/slideLayout13.xml"/><Relationship Id="rId3" Type="http://schemas.openxmlformats.org/officeDocument/2006/relationships/tags" Target="../tags/tag86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5" Type="http://schemas.openxmlformats.org/officeDocument/2006/relationships/tags" Target="../tags/tag108.xml"/><Relationship Id="rId33" Type="http://schemas.openxmlformats.org/officeDocument/2006/relationships/tags" Target="../tags/tag116.xml"/><Relationship Id="rId38" Type="http://schemas.openxmlformats.org/officeDocument/2006/relationships/tags" Target="../tags/tag121.xml"/><Relationship Id="rId46" Type="http://schemas.openxmlformats.org/officeDocument/2006/relationships/tags" Target="../tags/tag129.xml"/><Relationship Id="rId59" Type="http://schemas.openxmlformats.org/officeDocument/2006/relationships/tags" Target="../tags/tag142.xml"/><Relationship Id="rId67" Type="http://schemas.openxmlformats.org/officeDocument/2006/relationships/tags" Target="../tags/tag150.xml"/><Relationship Id="rId20" Type="http://schemas.openxmlformats.org/officeDocument/2006/relationships/tags" Target="../tags/tag103.xml"/><Relationship Id="rId41" Type="http://schemas.openxmlformats.org/officeDocument/2006/relationships/tags" Target="../tags/tag124.xml"/><Relationship Id="rId54" Type="http://schemas.openxmlformats.org/officeDocument/2006/relationships/tags" Target="../tags/tag137.xml"/><Relationship Id="rId62" Type="http://schemas.openxmlformats.org/officeDocument/2006/relationships/tags" Target="../tags/tag145.xml"/><Relationship Id="rId70" Type="http://schemas.openxmlformats.org/officeDocument/2006/relationships/tags" Target="../tags/tag153.xml"/><Relationship Id="rId75" Type="http://schemas.openxmlformats.org/officeDocument/2006/relationships/image" Target="../media/image42.bin"/><Relationship Id="rId1" Type="http://schemas.openxmlformats.org/officeDocument/2006/relationships/vmlDrawing" Target="../drawings/vmlDrawing5.vml"/><Relationship Id="rId6" Type="http://schemas.openxmlformats.org/officeDocument/2006/relationships/tags" Target="../tags/tag89.xml"/><Relationship Id="rId15" Type="http://schemas.openxmlformats.org/officeDocument/2006/relationships/tags" Target="../tags/tag98.xml"/><Relationship Id="rId23" Type="http://schemas.openxmlformats.org/officeDocument/2006/relationships/tags" Target="../tags/tag106.xml"/><Relationship Id="rId28" Type="http://schemas.openxmlformats.org/officeDocument/2006/relationships/tags" Target="../tags/tag111.xml"/><Relationship Id="rId36" Type="http://schemas.openxmlformats.org/officeDocument/2006/relationships/tags" Target="../tags/tag119.xml"/><Relationship Id="rId49" Type="http://schemas.openxmlformats.org/officeDocument/2006/relationships/tags" Target="../tags/tag132.xml"/><Relationship Id="rId57" Type="http://schemas.openxmlformats.org/officeDocument/2006/relationships/tags" Target="../tags/tag140.xml"/><Relationship Id="rId10" Type="http://schemas.openxmlformats.org/officeDocument/2006/relationships/tags" Target="../tags/tag93.xml"/><Relationship Id="rId31" Type="http://schemas.openxmlformats.org/officeDocument/2006/relationships/tags" Target="../tags/tag114.xml"/><Relationship Id="rId44" Type="http://schemas.openxmlformats.org/officeDocument/2006/relationships/tags" Target="../tags/tag127.xml"/><Relationship Id="rId52" Type="http://schemas.openxmlformats.org/officeDocument/2006/relationships/tags" Target="../tags/tag135.xml"/><Relationship Id="rId60" Type="http://schemas.openxmlformats.org/officeDocument/2006/relationships/tags" Target="../tags/tag143.xml"/><Relationship Id="rId65" Type="http://schemas.openxmlformats.org/officeDocument/2006/relationships/tags" Target="../tags/tag148.xml"/><Relationship Id="rId73" Type="http://schemas.openxmlformats.org/officeDocument/2006/relationships/notesSlide" Target="../notesSlides/notesSlide4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39" Type="http://schemas.openxmlformats.org/officeDocument/2006/relationships/tags" Target="../tags/tag122.xml"/><Relationship Id="rId34" Type="http://schemas.openxmlformats.org/officeDocument/2006/relationships/tags" Target="../tags/tag117.xml"/><Relationship Id="rId50" Type="http://schemas.openxmlformats.org/officeDocument/2006/relationships/tags" Target="../tags/tag133.xml"/><Relationship Id="rId55" Type="http://schemas.openxmlformats.org/officeDocument/2006/relationships/tags" Target="../tags/tag138.xml"/><Relationship Id="rId7" Type="http://schemas.openxmlformats.org/officeDocument/2006/relationships/tags" Target="../tags/tag90.xml"/><Relationship Id="rId71" Type="http://schemas.openxmlformats.org/officeDocument/2006/relationships/tags" Target="../tags/tag154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179.xml"/><Relationship Id="rId21" Type="http://schemas.openxmlformats.org/officeDocument/2006/relationships/tags" Target="../tags/tag174.xml"/><Relationship Id="rId42" Type="http://schemas.openxmlformats.org/officeDocument/2006/relationships/tags" Target="../tags/tag195.xml"/><Relationship Id="rId47" Type="http://schemas.openxmlformats.org/officeDocument/2006/relationships/tags" Target="../tags/tag200.xml"/><Relationship Id="rId63" Type="http://schemas.openxmlformats.org/officeDocument/2006/relationships/tags" Target="../tags/tag216.xml"/><Relationship Id="rId68" Type="http://schemas.openxmlformats.org/officeDocument/2006/relationships/tags" Target="../tags/tag221.xml"/><Relationship Id="rId16" Type="http://schemas.openxmlformats.org/officeDocument/2006/relationships/tags" Target="../tags/tag169.xml"/><Relationship Id="rId11" Type="http://schemas.openxmlformats.org/officeDocument/2006/relationships/tags" Target="../tags/tag164.xml"/><Relationship Id="rId32" Type="http://schemas.openxmlformats.org/officeDocument/2006/relationships/tags" Target="../tags/tag185.xml"/><Relationship Id="rId37" Type="http://schemas.openxmlformats.org/officeDocument/2006/relationships/tags" Target="../tags/tag190.xml"/><Relationship Id="rId53" Type="http://schemas.openxmlformats.org/officeDocument/2006/relationships/tags" Target="../tags/tag206.xml"/><Relationship Id="rId58" Type="http://schemas.openxmlformats.org/officeDocument/2006/relationships/tags" Target="../tags/tag211.xml"/><Relationship Id="rId74" Type="http://schemas.openxmlformats.org/officeDocument/2006/relationships/tags" Target="../tags/tag227.xml"/><Relationship Id="rId79" Type="http://schemas.openxmlformats.org/officeDocument/2006/relationships/tags" Target="../tags/tag232.xml"/><Relationship Id="rId5" Type="http://schemas.openxmlformats.org/officeDocument/2006/relationships/tags" Target="../tags/tag158.xml"/><Relationship Id="rId61" Type="http://schemas.openxmlformats.org/officeDocument/2006/relationships/tags" Target="../tags/tag214.xml"/><Relationship Id="rId82" Type="http://schemas.openxmlformats.org/officeDocument/2006/relationships/oleObject" Target="../embeddings/oleObject6.bin"/><Relationship Id="rId19" Type="http://schemas.openxmlformats.org/officeDocument/2006/relationships/tags" Target="../tags/tag172.xml"/><Relationship Id="rId14" Type="http://schemas.openxmlformats.org/officeDocument/2006/relationships/tags" Target="../tags/tag167.xml"/><Relationship Id="rId22" Type="http://schemas.openxmlformats.org/officeDocument/2006/relationships/tags" Target="../tags/tag175.xml"/><Relationship Id="rId27" Type="http://schemas.openxmlformats.org/officeDocument/2006/relationships/tags" Target="../tags/tag180.xml"/><Relationship Id="rId30" Type="http://schemas.openxmlformats.org/officeDocument/2006/relationships/tags" Target="../tags/tag183.xml"/><Relationship Id="rId35" Type="http://schemas.openxmlformats.org/officeDocument/2006/relationships/tags" Target="../tags/tag188.xml"/><Relationship Id="rId43" Type="http://schemas.openxmlformats.org/officeDocument/2006/relationships/tags" Target="../tags/tag196.xml"/><Relationship Id="rId48" Type="http://schemas.openxmlformats.org/officeDocument/2006/relationships/tags" Target="../tags/tag201.xml"/><Relationship Id="rId56" Type="http://schemas.openxmlformats.org/officeDocument/2006/relationships/tags" Target="../tags/tag209.xml"/><Relationship Id="rId64" Type="http://schemas.openxmlformats.org/officeDocument/2006/relationships/tags" Target="../tags/tag217.xml"/><Relationship Id="rId69" Type="http://schemas.openxmlformats.org/officeDocument/2006/relationships/tags" Target="../tags/tag222.xml"/><Relationship Id="rId77" Type="http://schemas.openxmlformats.org/officeDocument/2006/relationships/tags" Target="../tags/tag230.xml"/><Relationship Id="rId8" Type="http://schemas.openxmlformats.org/officeDocument/2006/relationships/tags" Target="../tags/tag161.xml"/><Relationship Id="rId51" Type="http://schemas.openxmlformats.org/officeDocument/2006/relationships/tags" Target="../tags/tag204.xml"/><Relationship Id="rId72" Type="http://schemas.openxmlformats.org/officeDocument/2006/relationships/tags" Target="../tags/tag225.xml"/><Relationship Id="rId80" Type="http://schemas.openxmlformats.org/officeDocument/2006/relationships/slideLayout" Target="../slideLayouts/slideLayout13.xml"/><Relationship Id="rId3" Type="http://schemas.openxmlformats.org/officeDocument/2006/relationships/tags" Target="../tags/tag156.xml"/><Relationship Id="rId12" Type="http://schemas.openxmlformats.org/officeDocument/2006/relationships/tags" Target="../tags/tag165.xml"/><Relationship Id="rId17" Type="http://schemas.openxmlformats.org/officeDocument/2006/relationships/tags" Target="../tags/tag170.xml"/><Relationship Id="rId25" Type="http://schemas.openxmlformats.org/officeDocument/2006/relationships/tags" Target="../tags/tag178.xml"/><Relationship Id="rId33" Type="http://schemas.openxmlformats.org/officeDocument/2006/relationships/tags" Target="../tags/tag186.xml"/><Relationship Id="rId38" Type="http://schemas.openxmlformats.org/officeDocument/2006/relationships/tags" Target="../tags/tag191.xml"/><Relationship Id="rId46" Type="http://schemas.openxmlformats.org/officeDocument/2006/relationships/tags" Target="../tags/tag199.xml"/><Relationship Id="rId59" Type="http://schemas.openxmlformats.org/officeDocument/2006/relationships/tags" Target="../tags/tag212.xml"/><Relationship Id="rId67" Type="http://schemas.openxmlformats.org/officeDocument/2006/relationships/tags" Target="../tags/tag220.xml"/><Relationship Id="rId20" Type="http://schemas.openxmlformats.org/officeDocument/2006/relationships/tags" Target="../tags/tag173.xml"/><Relationship Id="rId41" Type="http://schemas.openxmlformats.org/officeDocument/2006/relationships/tags" Target="../tags/tag194.xml"/><Relationship Id="rId54" Type="http://schemas.openxmlformats.org/officeDocument/2006/relationships/tags" Target="../tags/tag207.xml"/><Relationship Id="rId62" Type="http://schemas.openxmlformats.org/officeDocument/2006/relationships/tags" Target="../tags/tag215.xml"/><Relationship Id="rId70" Type="http://schemas.openxmlformats.org/officeDocument/2006/relationships/tags" Target="../tags/tag223.xml"/><Relationship Id="rId75" Type="http://schemas.openxmlformats.org/officeDocument/2006/relationships/tags" Target="../tags/tag228.xml"/><Relationship Id="rId83" Type="http://schemas.openxmlformats.org/officeDocument/2006/relationships/image" Target="../media/image42.bin"/><Relationship Id="rId1" Type="http://schemas.openxmlformats.org/officeDocument/2006/relationships/vmlDrawing" Target="../drawings/vmlDrawing6.vml"/><Relationship Id="rId6" Type="http://schemas.openxmlformats.org/officeDocument/2006/relationships/tags" Target="../tags/tag159.xml"/><Relationship Id="rId15" Type="http://schemas.openxmlformats.org/officeDocument/2006/relationships/tags" Target="../tags/tag168.xml"/><Relationship Id="rId23" Type="http://schemas.openxmlformats.org/officeDocument/2006/relationships/tags" Target="../tags/tag176.xml"/><Relationship Id="rId28" Type="http://schemas.openxmlformats.org/officeDocument/2006/relationships/tags" Target="../tags/tag181.xml"/><Relationship Id="rId36" Type="http://schemas.openxmlformats.org/officeDocument/2006/relationships/tags" Target="../tags/tag189.xml"/><Relationship Id="rId49" Type="http://schemas.openxmlformats.org/officeDocument/2006/relationships/tags" Target="../tags/tag202.xml"/><Relationship Id="rId57" Type="http://schemas.openxmlformats.org/officeDocument/2006/relationships/tags" Target="../tags/tag210.xml"/><Relationship Id="rId10" Type="http://schemas.openxmlformats.org/officeDocument/2006/relationships/tags" Target="../tags/tag163.xml"/><Relationship Id="rId31" Type="http://schemas.openxmlformats.org/officeDocument/2006/relationships/tags" Target="../tags/tag184.xml"/><Relationship Id="rId44" Type="http://schemas.openxmlformats.org/officeDocument/2006/relationships/tags" Target="../tags/tag197.xml"/><Relationship Id="rId52" Type="http://schemas.openxmlformats.org/officeDocument/2006/relationships/tags" Target="../tags/tag205.xml"/><Relationship Id="rId60" Type="http://schemas.openxmlformats.org/officeDocument/2006/relationships/tags" Target="../tags/tag213.xml"/><Relationship Id="rId65" Type="http://schemas.openxmlformats.org/officeDocument/2006/relationships/tags" Target="../tags/tag218.xml"/><Relationship Id="rId73" Type="http://schemas.openxmlformats.org/officeDocument/2006/relationships/tags" Target="../tags/tag226.xml"/><Relationship Id="rId78" Type="http://schemas.openxmlformats.org/officeDocument/2006/relationships/tags" Target="../tags/tag231.xml"/><Relationship Id="rId81" Type="http://schemas.openxmlformats.org/officeDocument/2006/relationships/notesSlide" Target="../notesSlides/notesSlide5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3" Type="http://schemas.openxmlformats.org/officeDocument/2006/relationships/tags" Target="../tags/tag166.xml"/><Relationship Id="rId18" Type="http://schemas.openxmlformats.org/officeDocument/2006/relationships/tags" Target="../tags/tag171.xml"/><Relationship Id="rId39" Type="http://schemas.openxmlformats.org/officeDocument/2006/relationships/tags" Target="../tags/tag192.xml"/><Relationship Id="rId34" Type="http://schemas.openxmlformats.org/officeDocument/2006/relationships/tags" Target="../tags/tag187.xml"/><Relationship Id="rId50" Type="http://schemas.openxmlformats.org/officeDocument/2006/relationships/tags" Target="../tags/tag203.xml"/><Relationship Id="rId55" Type="http://schemas.openxmlformats.org/officeDocument/2006/relationships/tags" Target="../tags/tag208.xml"/><Relationship Id="rId76" Type="http://schemas.openxmlformats.org/officeDocument/2006/relationships/tags" Target="../tags/tag229.xml"/><Relationship Id="rId7" Type="http://schemas.openxmlformats.org/officeDocument/2006/relationships/tags" Target="../tags/tag160.xml"/><Relationship Id="rId71" Type="http://schemas.openxmlformats.org/officeDocument/2006/relationships/tags" Target="../tags/tag224.xml"/><Relationship Id="rId2" Type="http://schemas.openxmlformats.org/officeDocument/2006/relationships/tags" Target="../tags/tag155.xml"/><Relationship Id="rId29" Type="http://schemas.openxmlformats.org/officeDocument/2006/relationships/tags" Target="../tags/tag182.xml"/><Relationship Id="rId24" Type="http://schemas.openxmlformats.org/officeDocument/2006/relationships/tags" Target="../tags/tag177.xml"/><Relationship Id="rId40" Type="http://schemas.openxmlformats.org/officeDocument/2006/relationships/tags" Target="../tags/tag193.xml"/><Relationship Id="rId45" Type="http://schemas.openxmlformats.org/officeDocument/2006/relationships/tags" Target="../tags/tag198.xml"/><Relationship Id="rId66" Type="http://schemas.openxmlformats.org/officeDocument/2006/relationships/tags" Target="../tags/tag21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46.svg"/><Relationship Id="rId18" Type="http://schemas.openxmlformats.org/officeDocument/2006/relationships/image" Target="../media/image51.png"/><Relationship Id="rId3" Type="http://schemas.openxmlformats.org/officeDocument/2006/relationships/customXml" Target="../../customXml/item20.xml"/><Relationship Id="rId7" Type="http://schemas.openxmlformats.org/officeDocument/2006/relationships/notesSlide" Target="../notesSlides/notesSlide6.xml"/><Relationship Id="rId12" Type="http://schemas.openxmlformats.org/officeDocument/2006/relationships/image" Target="../media/image45.png"/><Relationship Id="rId17" Type="http://schemas.openxmlformats.org/officeDocument/2006/relationships/image" Target="../media/image50.svg"/><Relationship Id="rId2" Type="http://schemas.openxmlformats.org/officeDocument/2006/relationships/customXml" Target="../../customXml/item10.xml"/><Relationship Id="rId16" Type="http://schemas.openxmlformats.org/officeDocument/2006/relationships/image" Target="../media/image49.png"/><Relationship Id="rId1" Type="http://schemas.openxmlformats.org/officeDocument/2006/relationships/vmlDrawing" Target="../drawings/vmlDrawing7.vml"/><Relationship Id="rId6" Type="http://schemas.openxmlformats.org/officeDocument/2006/relationships/slideLayout" Target="../slideLayouts/slideLayout37.xml"/><Relationship Id="rId11" Type="http://schemas.openxmlformats.org/officeDocument/2006/relationships/image" Target="../media/image44.svg"/><Relationship Id="rId5" Type="http://schemas.openxmlformats.org/officeDocument/2006/relationships/tags" Target="../tags/tag234.xml"/><Relationship Id="rId15" Type="http://schemas.openxmlformats.org/officeDocument/2006/relationships/image" Target="../media/image48.svg"/><Relationship Id="rId10" Type="http://schemas.openxmlformats.org/officeDocument/2006/relationships/image" Target="../media/image43.png"/><Relationship Id="rId19" Type="http://schemas.openxmlformats.org/officeDocument/2006/relationships/image" Target="../media/image52.svg"/><Relationship Id="rId4" Type="http://schemas.openxmlformats.org/officeDocument/2006/relationships/tags" Target="../tags/tag233.xml"/><Relationship Id="rId9" Type="http://schemas.openxmlformats.org/officeDocument/2006/relationships/image" Target="../media/image24.bin"/><Relationship Id="rId14" Type="http://schemas.openxmlformats.org/officeDocument/2006/relationships/image" Target="../media/image4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53.png"/><Relationship Id="rId2" Type="http://schemas.openxmlformats.org/officeDocument/2006/relationships/tags" Target="../tags/tag2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2.bin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2762419-B288-47C9-BDA5-61084CF34C4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39436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" name="think-cell Slide" r:id="rId8" imgW="409" imgH="408" progId="TCLayout.ActiveDocument.1">
                  <p:embed/>
                </p:oleObj>
              </mc:Choice>
              <mc:Fallback>
                <p:oleObj name="think-cell Slide" r:id="rId8" imgW="409" imgH="40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2762419-B288-47C9-BDA5-61084CF34C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28001C9-6B6F-4704-A715-0081BCC7EC5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B87BFC1-382F-45B3-9D65-71E836E903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6799" y="1239499"/>
            <a:ext cx="5711789" cy="2956720"/>
          </a:xfrm>
        </p:spPr>
        <p:txBody>
          <a:bodyPr vert="horz"/>
          <a:lstStyle/>
          <a:p>
            <a:r>
              <a:rPr lang="en-GB" dirty="0"/>
              <a:t>IPO Process and Timelin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1DBC96E-C2FD-405D-9E1E-456945345B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nb-NO" dirty="0"/>
              <a:t>Kristoffer </a:t>
            </a:r>
            <a:r>
              <a:rPr lang="nb-NO" dirty="0" err="1"/>
              <a:t>Skalmerud</a:t>
            </a:r>
            <a:r>
              <a:rPr lang="nb-NO" dirty="0"/>
              <a:t> Jebsen and Solveig F. </a:t>
            </a:r>
            <a:r>
              <a:rPr lang="nb-NO" dirty="0" err="1"/>
              <a:t>bugge</a:t>
            </a:r>
            <a:endParaRPr lang="nb-NO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5F5BFAF-460D-4B65-A535-E3FF7515483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b-NO" dirty="0"/>
              <a:t>03/05/2022</a:t>
            </a:r>
            <a:endParaRPr lang="en-GB" dirty="0"/>
          </a:p>
        </p:txBody>
      </p:sp>
      <p:pic>
        <p:nvPicPr>
          <p:cNvPr id="7" name="Picture Placeholder 12">
            <a:extLst>
              <a:ext uri="{FF2B5EF4-FFF2-40B4-BE49-F238E27FC236}">
                <a16:creationId xmlns:a16="http://schemas.microsoft.com/office/drawing/2014/main" id="{410B5EB5-E2C9-4A83-844D-86F44BCAD9D5}"/>
              </a:ext>
            </a:extLst>
          </p:cNvPr>
          <p:cNvPicPr>
            <a:picLocks noGrp="1" noChangeAspect="1"/>
          </p:cNvPicPr>
          <p:nvPr>
            <p:ph type="pic" sz="quarter" idx="25"/>
            <p:custDataLst>
              <p:tags r:id="rId5"/>
            </p:custDataLst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3" r="25523"/>
          <a:stretch/>
        </p:blipFill>
        <p:spPr>
          <a:xfrm>
            <a:off x="7116183" y="0"/>
            <a:ext cx="5075817" cy="5835227"/>
          </a:xfr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FF6D432-7F24-4AB7-ACC9-11B9C5641A8D}"/>
              </a:ext>
            </a:extLst>
          </p:cNvPr>
          <p:cNvCxnSpPr/>
          <p:nvPr/>
        </p:nvCxnSpPr>
        <p:spPr>
          <a:xfrm>
            <a:off x="9130659" y="6116400"/>
            <a:ext cx="0" cy="428779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B3655D36-E887-4510-85C7-372C2FC968A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9079" y="5835227"/>
            <a:ext cx="1244167" cy="105232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85AA609-694B-4E3D-9F02-68608733301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8803638-3ABD-4008-BB1B-57D591C7517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pPr/>
              <a:t>1</a:t>
            </a:fld>
            <a:endParaRPr lang="nb-NO" dirty="0"/>
          </a:p>
        </p:txBody>
      </p:sp>
    </p:spTree>
    <p:custDataLst>
      <p:custData r:id="rId2"/>
      <p:custData r:id="rId3"/>
    </p:custDataLst>
    <p:extLst>
      <p:ext uri="{BB962C8B-B14F-4D97-AF65-F5344CB8AC3E}">
        <p14:creationId xmlns:p14="http://schemas.microsoft.com/office/powerpoint/2010/main" val="32336635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47835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 hidden="1"/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32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32" name="Subtitle 31">
            <a:extLst>
              <a:ext uri="{FF2B5EF4-FFF2-40B4-BE49-F238E27FC236}">
                <a16:creationId xmlns:a16="http://schemas.microsoft.com/office/drawing/2014/main" id="{E08A267E-12A1-4A72-8D7B-83CE1A606F0B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IPO Process and Timelin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solidFill>
                  <a:schemeClr val="tx1"/>
                </a:solidFill>
              </a:rPr>
              <a:t>Who does what and why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9" name="Flowchart: Connector 8"/>
          <p:cNvSpPr/>
          <p:nvPr/>
        </p:nvSpPr>
        <p:spPr>
          <a:xfrm>
            <a:off x="4682704" y="2872353"/>
            <a:ext cx="2236316" cy="2174033"/>
          </a:xfrm>
          <a:prstGeom prst="flowChartConnector">
            <a:avLst/>
          </a:prstGeom>
          <a:solidFill>
            <a:srgbClr val="FFFFFF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nb-NO" sz="2000" spc="50" dirty="0">
              <a:solidFill>
                <a:schemeClr val="bg2"/>
              </a:solidFill>
              <a:latin typeface="+mj-lt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7A6745F2-4442-4AC0-9311-E2F2DEA68165}"/>
              </a:ext>
            </a:extLst>
          </p:cNvPr>
          <p:cNvGrpSpPr/>
          <p:nvPr/>
        </p:nvGrpSpPr>
        <p:grpSpPr>
          <a:xfrm>
            <a:off x="1055802" y="5351291"/>
            <a:ext cx="4418185" cy="824348"/>
            <a:chOff x="-1699203" y="2176829"/>
            <a:chExt cx="4418185" cy="824348"/>
          </a:xfrm>
        </p:grpSpPr>
        <p:sp>
          <p:nvSpPr>
            <p:cNvPr id="10" name="Subtitle 2"/>
            <p:cNvSpPr txBox="1">
              <a:spLocks noChangeAspect="1"/>
            </p:cNvSpPr>
            <p:nvPr/>
          </p:nvSpPr>
          <p:spPr>
            <a:xfrm>
              <a:off x="1894633" y="2176829"/>
              <a:ext cx="824349" cy="824348"/>
            </a:xfrm>
            <a:prstGeom prst="ellipse">
              <a:avLst/>
            </a:prstGeom>
            <a:solidFill>
              <a:schemeClr val="tx2"/>
            </a:solidFill>
            <a:ln w="57150">
              <a:noFill/>
            </a:ln>
          </p:spPr>
          <p:txBody>
            <a:bodyPr lIns="36000" tIns="36000" rIns="36000" bIns="36000" anchor="ctr" anchorCtr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kern="1200" cap="all" baseline="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400" cap="none" spc="5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A09DE0FE-3EB0-42C4-B0EB-ED4FA0874096}"/>
                </a:ext>
              </a:extLst>
            </p:cNvPr>
            <p:cNvSpPr txBox="1"/>
            <p:nvPr/>
          </p:nvSpPr>
          <p:spPr>
            <a:xfrm>
              <a:off x="-1699203" y="2406634"/>
              <a:ext cx="3517976" cy="3658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lnSpc>
                  <a:spcPct val="90000"/>
                </a:lnSpc>
              </a:pPr>
              <a:r>
                <a:rPr lang="en-GB" sz="1400" b="1" spc="50" dirty="0" err="1">
                  <a:ea typeface="Open Sans SemiBold" panose="020B0706030804020204" pitchFamily="34" charset="0"/>
                  <a:cs typeface="Open Sans SemiBold" panose="020B0706030804020204" pitchFamily="34" charset="0"/>
                </a:rPr>
                <a:t>ListCo's</a:t>
              </a:r>
              <a:r>
                <a:rPr lang="en-GB" sz="1400" b="1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 financial adviser (optional) </a:t>
              </a:r>
            </a:p>
            <a:p>
              <a:pPr algn="r">
                <a:lnSpc>
                  <a:spcPct val="90000"/>
                </a:lnSpc>
              </a:pPr>
              <a:r>
                <a:rPr lang="en-GB" sz="1400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IPO preparations, assistance with IPO execution</a:t>
              </a:r>
              <a:endParaRPr lang="en-GB" sz="1400" spc="50" dirty="0"/>
            </a:p>
            <a:p>
              <a:pPr>
                <a:lnSpc>
                  <a:spcPct val="90000"/>
                </a:lnSpc>
              </a:pPr>
              <a:endParaRPr lang="en-GB" sz="1400" spc="50" dirty="0"/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3CA94BB-96E0-4E07-8C0D-790313F34442}"/>
              </a:ext>
            </a:extLst>
          </p:cNvPr>
          <p:cNvGrpSpPr/>
          <p:nvPr/>
        </p:nvGrpSpPr>
        <p:grpSpPr>
          <a:xfrm>
            <a:off x="7554823" y="3434008"/>
            <a:ext cx="4464352" cy="824348"/>
            <a:chOff x="4506535" y="3791438"/>
            <a:chExt cx="4464352" cy="824348"/>
          </a:xfrm>
        </p:grpSpPr>
        <p:sp>
          <p:nvSpPr>
            <p:cNvPr id="16" name="Subtitle 2"/>
            <p:cNvSpPr txBox="1">
              <a:spLocks noChangeAspect="1"/>
            </p:cNvSpPr>
            <p:nvPr/>
          </p:nvSpPr>
          <p:spPr>
            <a:xfrm>
              <a:off x="4506535" y="3791438"/>
              <a:ext cx="824349" cy="824348"/>
            </a:xfrm>
            <a:prstGeom prst="ellipse">
              <a:avLst/>
            </a:prstGeom>
            <a:solidFill>
              <a:schemeClr val="tx2"/>
            </a:solidFill>
            <a:ln w="57150">
              <a:noFill/>
            </a:ln>
          </p:spPr>
          <p:txBody>
            <a:bodyPr lIns="36000" tIns="36000" rIns="36000" bIns="36000" anchor="ctr" anchorCtr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kern="1200" cap="all" baseline="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400" cap="none" spc="5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189C2E2A-8165-4AE2-900F-CCE341423CA7}"/>
                </a:ext>
              </a:extLst>
            </p:cNvPr>
            <p:cNvSpPr txBox="1"/>
            <p:nvPr/>
          </p:nvSpPr>
          <p:spPr>
            <a:xfrm>
              <a:off x="5438358" y="4020696"/>
              <a:ext cx="3532529" cy="3658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GB" sz="1400" b="1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Managers' legal adviser</a:t>
              </a:r>
            </a:p>
            <a:p>
              <a:pPr>
                <a:lnSpc>
                  <a:spcPct val="90000"/>
                </a:lnSpc>
              </a:pPr>
              <a:r>
                <a:rPr lang="en-GB" sz="1400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Legal IPO DD, legal adviser managers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F4D81734-3564-4A12-AFA7-B966A583C643}"/>
              </a:ext>
            </a:extLst>
          </p:cNvPr>
          <p:cNvGrpSpPr/>
          <p:nvPr/>
        </p:nvGrpSpPr>
        <p:grpSpPr>
          <a:xfrm>
            <a:off x="7219095" y="4506057"/>
            <a:ext cx="4206106" cy="824348"/>
            <a:chOff x="3903172" y="2941499"/>
            <a:chExt cx="4206106" cy="824348"/>
          </a:xfrm>
        </p:grpSpPr>
        <p:sp>
          <p:nvSpPr>
            <p:cNvPr id="52" name="Subtitle 2">
              <a:extLst>
                <a:ext uri="{FF2B5EF4-FFF2-40B4-BE49-F238E27FC236}">
                  <a16:creationId xmlns:a16="http://schemas.microsoft.com/office/drawing/2014/main" id="{378AFDA7-E9FF-4EC7-9D56-CE3542C31793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3903172" y="2941499"/>
              <a:ext cx="824349" cy="824348"/>
            </a:xfrm>
            <a:prstGeom prst="ellipse">
              <a:avLst/>
            </a:prstGeom>
            <a:solidFill>
              <a:schemeClr val="tx2"/>
            </a:solidFill>
            <a:ln w="57150">
              <a:noFill/>
            </a:ln>
          </p:spPr>
          <p:txBody>
            <a:bodyPr lIns="36000" tIns="36000" rIns="36000" bIns="36000" anchor="ctr" anchorCtr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kern="1200" cap="all" baseline="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400" cap="none" spc="5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998B6A06-4B03-4527-9C3E-B815D8BA65FC}"/>
                </a:ext>
              </a:extLst>
            </p:cNvPr>
            <p:cNvSpPr txBox="1"/>
            <p:nvPr/>
          </p:nvSpPr>
          <p:spPr>
            <a:xfrm>
              <a:off x="4837336" y="3170757"/>
              <a:ext cx="3271942" cy="3658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GB" sz="1400" b="1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Managers' financial adviser</a:t>
              </a:r>
            </a:p>
            <a:p>
              <a:pPr>
                <a:lnSpc>
                  <a:spcPct val="90000"/>
                </a:lnSpc>
              </a:pPr>
              <a:r>
                <a:rPr lang="en-GB" sz="1400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Financial IPO DD, financial adviser managers</a:t>
              </a:r>
            </a:p>
            <a:p>
              <a:pPr>
                <a:lnSpc>
                  <a:spcPct val="90000"/>
                </a:lnSpc>
              </a:pPr>
              <a:endParaRPr lang="en-GB" sz="1400" spc="50" dirty="0"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4447A3E1-3ACC-4C64-A3F2-E8E30048C79A}"/>
              </a:ext>
            </a:extLst>
          </p:cNvPr>
          <p:cNvGrpSpPr/>
          <p:nvPr/>
        </p:nvGrpSpPr>
        <p:grpSpPr>
          <a:xfrm>
            <a:off x="5281263" y="1635059"/>
            <a:ext cx="4852552" cy="824348"/>
            <a:chOff x="3903172" y="2941499"/>
            <a:chExt cx="4852552" cy="824348"/>
          </a:xfrm>
        </p:grpSpPr>
        <p:sp>
          <p:nvSpPr>
            <p:cNvPr id="67" name="Subtitle 2">
              <a:extLst>
                <a:ext uri="{FF2B5EF4-FFF2-40B4-BE49-F238E27FC236}">
                  <a16:creationId xmlns:a16="http://schemas.microsoft.com/office/drawing/2014/main" id="{45C50912-50CC-409B-A14D-A5339B3B30D4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3903172" y="2941499"/>
              <a:ext cx="824349" cy="824348"/>
            </a:xfrm>
            <a:prstGeom prst="ellipse">
              <a:avLst/>
            </a:prstGeom>
            <a:solidFill>
              <a:schemeClr val="tx2"/>
            </a:solidFill>
            <a:ln w="57150">
              <a:noFill/>
            </a:ln>
          </p:spPr>
          <p:txBody>
            <a:bodyPr lIns="36000" tIns="36000" rIns="36000" bIns="36000" anchor="ctr" anchorCtr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kern="1200" cap="all" baseline="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400" cap="none" spc="5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3BBED307-E076-4234-96DA-077C6E5503E1}"/>
                </a:ext>
              </a:extLst>
            </p:cNvPr>
            <p:cNvSpPr txBox="1"/>
            <p:nvPr/>
          </p:nvSpPr>
          <p:spPr>
            <a:xfrm>
              <a:off x="4837336" y="3170757"/>
              <a:ext cx="3918388" cy="3658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GB" sz="1400" b="1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Owners</a:t>
              </a:r>
            </a:p>
            <a:p>
              <a:pPr>
                <a:lnSpc>
                  <a:spcPct val="90000"/>
                </a:lnSpc>
              </a:pPr>
              <a:r>
                <a:rPr lang="en-GB" sz="1400" spc="50" dirty="0" err="1">
                  <a:ea typeface="Open Sans SemiBold" panose="020B0706030804020204" pitchFamily="34" charset="0"/>
                  <a:cs typeface="Open Sans SemiBold" panose="020B0706030804020204" pitchFamily="34" charset="0"/>
                </a:rPr>
                <a:t>SteerCo</a:t>
              </a:r>
              <a:r>
                <a:rPr lang="en-GB" sz="1400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 and decision makers</a:t>
              </a:r>
            </a:p>
            <a:p>
              <a:pPr>
                <a:lnSpc>
                  <a:spcPct val="90000"/>
                </a:lnSpc>
              </a:pPr>
              <a:endParaRPr lang="en-GB" sz="1400" spc="50" dirty="0"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9297260D-029B-402B-80A0-7C6143D29840}"/>
              </a:ext>
            </a:extLst>
          </p:cNvPr>
          <p:cNvGrpSpPr/>
          <p:nvPr/>
        </p:nvGrpSpPr>
        <p:grpSpPr>
          <a:xfrm>
            <a:off x="7009798" y="2289307"/>
            <a:ext cx="4585172" cy="824348"/>
            <a:chOff x="3903172" y="2941499"/>
            <a:chExt cx="4585172" cy="824348"/>
          </a:xfrm>
        </p:grpSpPr>
        <p:sp>
          <p:nvSpPr>
            <p:cNvPr id="73" name="Subtitle 2">
              <a:extLst>
                <a:ext uri="{FF2B5EF4-FFF2-40B4-BE49-F238E27FC236}">
                  <a16:creationId xmlns:a16="http://schemas.microsoft.com/office/drawing/2014/main" id="{3B7EFA68-F3C4-449F-A5A7-AA0BA9E2694F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3903172" y="2941499"/>
              <a:ext cx="824349" cy="824348"/>
            </a:xfrm>
            <a:prstGeom prst="ellipse">
              <a:avLst/>
            </a:prstGeom>
            <a:solidFill>
              <a:schemeClr val="tx2"/>
            </a:solidFill>
            <a:ln w="57150">
              <a:noFill/>
            </a:ln>
          </p:spPr>
          <p:txBody>
            <a:bodyPr lIns="36000" tIns="36000" rIns="36000" bIns="36000" anchor="ctr" anchorCtr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kern="1200" cap="all" baseline="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400" cap="none" spc="5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86332E03-0038-4777-8406-23461D73400A}"/>
                </a:ext>
              </a:extLst>
            </p:cNvPr>
            <p:cNvSpPr txBox="1"/>
            <p:nvPr/>
          </p:nvSpPr>
          <p:spPr>
            <a:xfrm>
              <a:off x="4818300" y="3126198"/>
              <a:ext cx="3670044" cy="3658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GB" sz="1400" b="1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Managers </a:t>
              </a:r>
            </a:p>
            <a:p>
              <a:pPr>
                <a:lnSpc>
                  <a:spcPct val="90000"/>
                </a:lnSpc>
              </a:pPr>
              <a:r>
                <a:rPr lang="en-GB" sz="1400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Project management, marketing, </a:t>
              </a:r>
              <a:r>
                <a:rPr lang="en-GB" sz="1400" spc="50" dirty="0" err="1">
                  <a:ea typeface="Open Sans SemiBold" panose="020B0706030804020204" pitchFamily="34" charset="0"/>
                  <a:cs typeface="Open Sans SemiBold" panose="020B0706030804020204" pitchFamily="34" charset="0"/>
                </a:rPr>
                <a:t>bookbuilding</a:t>
              </a:r>
              <a:r>
                <a:rPr lang="en-GB" sz="1400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, settlement</a:t>
              </a:r>
            </a:p>
            <a:p>
              <a:pPr>
                <a:lnSpc>
                  <a:spcPct val="90000"/>
                </a:lnSpc>
              </a:pPr>
              <a:endParaRPr lang="en-GB" sz="1400" spc="50" dirty="0"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9924ADB2-4324-4B73-A9A2-E79BC6499913}"/>
              </a:ext>
            </a:extLst>
          </p:cNvPr>
          <p:cNvGrpSpPr/>
          <p:nvPr/>
        </p:nvGrpSpPr>
        <p:grpSpPr>
          <a:xfrm>
            <a:off x="6151332" y="5345003"/>
            <a:ext cx="4689494" cy="824348"/>
            <a:chOff x="3903172" y="2941499"/>
            <a:chExt cx="4689494" cy="824348"/>
          </a:xfrm>
        </p:grpSpPr>
        <p:sp>
          <p:nvSpPr>
            <p:cNvPr id="76" name="Subtitle 2">
              <a:extLst>
                <a:ext uri="{FF2B5EF4-FFF2-40B4-BE49-F238E27FC236}">
                  <a16:creationId xmlns:a16="http://schemas.microsoft.com/office/drawing/2014/main" id="{A54A554E-5A33-451F-A821-73E99F9037C7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3903172" y="2941499"/>
              <a:ext cx="824349" cy="824348"/>
            </a:xfrm>
            <a:prstGeom prst="ellipse">
              <a:avLst/>
            </a:prstGeom>
            <a:solidFill>
              <a:schemeClr val="tx2"/>
            </a:solidFill>
            <a:ln w="57150">
              <a:noFill/>
            </a:ln>
          </p:spPr>
          <p:txBody>
            <a:bodyPr lIns="36000" tIns="36000" rIns="36000" bIns="36000" anchor="ctr" anchorCtr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kern="1200" cap="all" baseline="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400" cap="none" spc="5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277ED693-AE1C-4EA0-BEEC-8780B6F3953C}"/>
                </a:ext>
              </a:extLst>
            </p:cNvPr>
            <p:cNvSpPr txBox="1"/>
            <p:nvPr/>
          </p:nvSpPr>
          <p:spPr>
            <a:xfrm>
              <a:off x="4837336" y="3170757"/>
              <a:ext cx="3755330" cy="3658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GB" sz="1400" b="1" spc="50" dirty="0" err="1">
                  <a:ea typeface="Open Sans SemiBold" panose="020B0706030804020204" pitchFamily="34" charset="0"/>
                  <a:cs typeface="Open Sans SemiBold" panose="020B0706030804020204" pitchFamily="34" charset="0"/>
                </a:rPr>
                <a:t>ListCo's</a:t>
              </a:r>
              <a:r>
                <a:rPr lang="en-GB" sz="1400" b="1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 communication adviser</a:t>
              </a:r>
            </a:p>
            <a:p>
              <a:pPr>
                <a:lnSpc>
                  <a:spcPct val="90000"/>
                </a:lnSpc>
              </a:pPr>
              <a:r>
                <a:rPr lang="en-GB" sz="1400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Communication strategy, IR</a:t>
              </a:r>
            </a:p>
            <a:p>
              <a:pPr>
                <a:lnSpc>
                  <a:spcPct val="90000"/>
                </a:lnSpc>
              </a:pPr>
              <a:endParaRPr lang="en-GB" sz="1400" spc="50" dirty="0"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9B26618A-57B1-4657-8929-2CAF2A5918AF}"/>
              </a:ext>
            </a:extLst>
          </p:cNvPr>
          <p:cNvGrpSpPr/>
          <p:nvPr/>
        </p:nvGrpSpPr>
        <p:grpSpPr>
          <a:xfrm>
            <a:off x="216816" y="4502296"/>
            <a:ext cx="4251825" cy="824348"/>
            <a:chOff x="-1532843" y="2176829"/>
            <a:chExt cx="4251825" cy="824348"/>
          </a:xfrm>
        </p:grpSpPr>
        <p:sp>
          <p:nvSpPr>
            <p:cNvPr id="79" name="Subtitle 2">
              <a:extLst>
                <a:ext uri="{FF2B5EF4-FFF2-40B4-BE49-F238E27FC236}">
                  <a16:creationId xmlns:a16="http://schemas.microsoft.com/office/drawing/2014/main" id="{9EF54763-F867-492F-8D4A-D0272CD5DE4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1894633" y="2176829"/>
              <a:ext cx="824349" cy="824348"/>
            </a:xfrm>
            <a:prstGeom prst="ellipse">
              <a:avLst/>
            </a:prstGeom>
            <a:solidFill>
              <a:schemeClr val="tx2"/>
            </a:solidFill>
            <a:ln w="57150">
              <a:noFill/>
            </a:ln>
          </p:spPr>
          <p:txBody>
            <a:bodyPr lIns="36000" tIns="36000" rIns="36000" bIns="36000" anchor="ctr" anchorCtr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kern="1200" cap="all" baseline="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400" cap="none" spc="5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ED0CBB92-9B40-4A02-97B3-D84CF75D507E}"/>
                </a:ext>
              </a:extLst>
            </p:cNvPr>
            <p:cNvSpPr txBox="1"/>
            <p:nvPr/>
          </p:nvSpPr>
          <p:spPr>
            <a:xfrm>
              <a:off x="-1532843" y="2406634"/>
              <a:ext cx="3351615" cy="3658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lnSpc>
                  <a:spcPct val="90000"/>
                </a:lnSpc>
              </a:pPr>
              <a:r>
                <a:rPr lang="en-GB" sz="1400" b="1" spc="50" dirty="0" err="1">
                  <a:ea typeface="Open Sans SemiBold" panose="020B0706030804020204" pitchFamily="34" charset="0"/>
                  <a:cs typeface="Open Sans SemiBold" panose="020B0706030804020204" pitchFamily="34" charset="0"/>
                </a:rPr>
                <a:t>ListCo's</a:t>
              </a:r>
              <a:r>
                <a:rPr lang="en-GB" sz="1400" b="1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 auditor</a:t>
              </a:r>
            </a:p>
            <a:p>
              <a:pPr algn="r">
                <a:lnSpc>
                  <a:spcPct val="90000"/>
                </a:lnSpc>
              </a:pPr>
              <a:r>
                <a:rPr lang="en-GB" sz="1400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Audit and review of financial history </a:t>
              </a:r>
              <a:endParaRPr lang="en-GB" sz="1400" spc="50" dirty="0"/>
            </a:p>
            <a:p>
              <a:pPr>
                <a:lnSpc>
                  <a:spcPct val="90000"/>
                </a:lnSpc>
              </a:pPr>
              <a:endParaRPr lang="en-GB" sz="1400" spc="50" dirty="0"/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94268046-13AE-4B27-9E05-9F70977EAE13}"/>
              </a:ext>
            </a:extLst>
          </p:cNvPr>
          <p:cNvGrpSpPr/>
          <p:nvPr/>
        </p:nvGrpSpPr>
        <p:grpSpPr>
          <a:xfrm>
            <a:off x="0" y="2257473"/>
            <a:ext cx="4648733" cy="824348"/>
            <a:chOff x="-1929751" y="2176829"/>
            <a:chExt cx="4648733" cy="824348"/>
          </a:xfrm>
        </p:grpSpPr>
        <p:sp>
          <p:nvSpPr>
            <p:cNvPr id="82" name="Subtitle 2">
              <a:extLst>
                <a:ext uri="{FF2B5EF4-FFF2-40B4-BE49-F238E27FC236}">
                  <a16:creationId xmlns:a16="http://schemas.microsoft.com/office/drawing/2014/main" id="{DA33B154-DEB8-4EAC-BBD9-DB0B37958A42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1894633" y="2176829"/>
              <a:ext cx="824349" cy="824348"/>
            </a:xfrm>
            <a:prstGeom prst="ellipse">
              <a:avLst/>
            </a:prstGeom>
            <a:solidFill>
              <a:schemeClr val="tx2"/>
            </a:solidFill>
            <a:ln w="57150">
              <a:noFill/>
            </a:ln>
          </p:spPr>
          <p:txBody>
            <a:bodyPr lIns="36000" tIns="36000" rIns="36000" bIns="36000" anchor="ctr" anchorCtr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kern="1200" cap="all" baseline="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400" cap="none" spc="5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56B0753A-D410-4AB4-A069-D89E6C4D6791}"/>
                </a:ext>
              </a:extLst>
            </p:cNvPr>
            <p:cNvSpPr txBox="1"/>
            <p:nvPr/>
          </p:nvSpPr>
          <p:spPr>
            <a:xfrm>
              <a:off x="-1929751" y="2291805"/>
              <a:ext cx="3748523" cy="3658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lnSpc>
                  <a:spcPct val="90000"/>
                </a:lnSpc>
              </a:pPr>
              <a:r>
                <a:rPr lang="en-GB" sz="1400" b="1" spc="50" dirty="0" err="1">
                  <a:ea typeface="Open Sans SemiBold" panose="020B0706030804020204" pitchFamily="34" charset="0"/>
                  <a:cs typeface="Open Sans SemiBold" panose="020B0706030804020204" pitchFamily="34" charset="0"/>
                </a:rPr>
                <a:t>ListCo</a:t>
              </a:r>
              <a:endParaRPr lang="en-GB" sz="1400" b="1" spc="50" dirty="0"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  <a:p>
              <a:pPr algn="r">
                <a:lnSpc>
                  <a:spcPct val="90000"/>
                </a:lnSpc>
              </a:pPr>
              <a:r>
                <a:rPr lang="en-GB" sz="1400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Project leader, present to investors,</a:t>
              </a:r>
            </a:p>
            <a:p>
              <a:pPr algn="r">
                <a:lnSpc>
                  <a:spcPct val="90000"/>
                </a:lnSpc>
              </a:pPr>
              <a:r>
                <a:rPr lang="en-GB" sz="1400" spc="50" dirty="0"/>
                <a:t>IPO execution</a:t>
              </a:r>
            </a:p>
            <a:p>
              <a:pPr>
                <a:lnSpc>
                  <a:spcPct val="90000"/>
                </a:lnSpc>
              </a:pPr>
              <a:endParaRPr lang="en-GB" sz="1400" spc="50" dirty="0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D1BAC7D1-9CBE-4688-ADE0-F65425D8E8ED}"/>
              </a:ext>
            </a:extLst>
          </p:cNvPr>
          <p:cNvGrpSpPr/>
          <p:nvPr/>
        </p:nvGrpSpPr>
        <p:grpSpPr>
          <a:xfrm>
            <a:off x="172825" y="3401467"/>
            <a:ext cx="3809346" cy="824348"/>
            <a:chOff x="-1090364" y="2176829"/>
            <a:chExt cx="3809346" cy="824348"/>
          </a:xfrm>
        </p:grpSpPr>
        <p:sp>
          <p:nvSpPr>
            <p:cNvPr id="85" name="Subtitle 2">
              <a:extLst>
                <a:ext uri="{FF2B5EF4-FFF2-40B4-BE49-F238E27FC236}">
                  <a16:creationId xmlns:a16="http://schemas.microsoft.com/office/drawing/2014/main" id="{80DB8F52-D75B-4160-A479-43F76167BDD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1894633" y="2176829"/>
              <a:ext cx="824349" cy="824348"/>
            </a:xfrm>
            <a:prstGeom prst="ellipse">
              <a:avLst/>
            </a:prstGeom>
            <a:solidFill>
              <a:schemeClr val="tx2"/>
            </a:solidFill>
            <a:ln w="57150">
              <a:noFill/>
            </a:ln>
          </p:spPr>
          <p:txBody>
            <a:bodyPr lIns="36000" tIns="36000" rIns="36000" bIns="36000" anchor="ctr" anchorCtr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kern="1200" cap="all" baseline="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400" cap="none" spc="5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A4731B66-CCEA-4029-B2E5-FDBA5DC7C0E5}"/>
                </a:ext>
              </a:extLst>
            </p:cNvPr>
            <p:cNvSpPr txBox="1"/>
            <p:nvPr/>
          </p:nvSpPr>
          <p:spPr>
            <a:xfrm>
              <a:off x="-1090364" y="2368898"/>
              <a:ext cx="2894219" cy="3658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lnSpc>
                  <a:spcPct val="90000"/>
                </a:lnSpc>
              </a:pPr>
              <a:r>
                <a:rPr lang="en-GB" sz="1400" b="1" spc="50" dirty="0" err="1">
                  <a:ea typeface="Open Sans SemiBold" panose="020B0706030804020204" pitchFamily="34" charset="0"/>
                  <a:cs typeface="Open Sans SemiBold" panose="020B0706030804020204" pitchFamily="34" charset="0"/>
                </a:rPr>
                <a:t>ListCo's</a:t>
              </a:r>
              <a:r>
                <a:rPr lang="en-GB" sz="1400" b="1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 legal adviser</a:t>
              </a:r>
            </a:p>
            <a:p>
              <a:pPr algn="r">
                <a:lnSpc>
                  <a:spcPct val="90000"/>
                </a:lnSpc>
              </a:pPr>
              <a:r>
                <a:rPr lang="en-GB" sz="1400" spc="50" dirty="0"/>
                <a:t>IPO preparations, assistance with IPO execution</a:t>
              </a:r>
            </a:p>
            <a:p>
              <a:pPr>
                <a:lnSpc>
                  <a:spcPct val="90000"/>
                </a:lnSpc>
              </a:pPr>
              <a:endParaRPr lang="en-GB" sz="1400" spc="50" dirty="0"/>
            </a:p>
          </p:txBody>
        </p:sp>
      </p:grpSp>
      <p:pic>
        <p:nvPicPr>
          <p:cNvPr id="7" name="Picture 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1EE9275-3A1E-4CE2-81D5-44E6D6CF3A3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8104" y="3614039"/>
            <a:ext cx="1944481" cy="759563"/>
          </a:xfrm>
          <a:prstGeom prst="rect">
            <a:avLst/>
          </a:prstGeom>
        </p:spPr>
      </p:pic>
      <p:pic>
        <p:nvPicPr>
          <p:cNvPr id="13" name="Graphic 12" descr="City outline">
            <a:extLst>
              <a:ext uri="{FF2B5EF4-FFF2-40B4-BE49-F238E27FC236}">
                <a16:creationId xmlns:a16="http://schemas.microsoft.com/office/drawing/2014/main" id="{98068B7C-2553-4A1B-8F9A-CD919744D3A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382190" y="1713357"/>
            <a:ext cx="622494" cy="622494"/>
          </a:xfrm>
          <a:prstGeom prst="rect">
            <a:avLst/>
          </a:prstGeom>
        </p:spPr>
      </p:pic>
      <p:pic>
        <p:nvPicPr>
          <p:cNvPr id="15" name="Graphic 14" descr="Open book outline">
            <a:extLst>
              <a:ext uri="{FF2B5EF4-FFF2-40B4-BE49-F238E27FC236}">
                <a16:creationId xmlns:a16="http://schemas.microsoft.com/office/drawing/2014/main" id="{4CD65412-0DE1-41DB-9501-9F2545C7A11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156213" y="2451087"/>
            <a:ext cx="531518" cy="531518"/>
          </a:xfrm>
          <a:prstGeom prst="rect">
            <a:avLst/>
          </a:prstGeom>
        </p:spPr>
      </p:pic>
      <p:pic>
        <p:nvPicPr>
          <p:cNvPr id="18" name="Graphic 17" descr="Scales of justice outline">
            <a:extLst>
              <a:ext uri="{FF2B5EF4-FFF2-40B4-BE49-F238E27FC236}">
                <a16:creationId xmlns:a16="http://schemas.microsoft.com/office/drawing/2014/main" id="{06C53C33-EE1C-4B9B-AA4F-5606E368512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696058" y="3549272"/>
            <a:ext cx="561822" cy="561822"/>
          </a:xfrm>
          <a:prstGeom prst="rect">
            <a:avLst/>
          </a:prstGeom>
        </p:spPr>
      </p:pic>
      <p:pic>
        <p:nvPicPr>
          <p:cNvPr id="20" name="Graphic 19" descr="Presentation with bar chart outline">
            <a:extLst>
              <a:ext uri="{FF2B5EF4-FFF2-40B4-BE49-F238E27FC236}">
                <a16:creationId xmlns:a16="http://schemas.microsoft.com/office/drawing/2014/main" id="{7BFA5B5C-6B53-4B6D-BC39-F739B9847CD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357011" y="4668353"/>
            <a:ext cx="548516" cy="548516"/>
          </a:xfrm>
          <a:prstGeom prst="rect">
            <a:avLst/>
          </a:prstGeom>
        </p:spPr>
      </p:pic>
      <p:pic>
        <p:nvPicPr>
          <p:cNvPr id="22" name="Graphic 21" descr="Megaphone outline">
            <a:extLst>
              <a:ext uri="{FF2B5EF4-FFF2-40B4-BE49-F238E27FC236}">
                <a16:creationId xmlns:a16="http://schemas.microsoft.com/office/drawing/2014/main" id="{B9E0D5BF-D143-4403-B559-F5999994CC3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273815" y="5468695"/>
            <a:ext cx="556478" cy="556478"/>
          </a:xfrm>
          <a:prstGeom prst="rect">
            <a:avLst/>
          </a:prstGeom>
        </p:spPr>
      </p:pic>
      <p:pic>
        <p:nvPicPr>
          <p:cNvPr id="25" name="Graphic 24" descr="Linear Graph outline">
            <a:extLst>
              <a:ext uri="{FF2B5EF4-FFF2-40B4-BE49-F238E27FC236}">
                <a16:creationId xmlns:a16="http://schemas.microsoft.com/office/drawing/2014/main" id="{D10A114C-BFAF-4E56-9C5C-B5DB1618DAA4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776567" y="5478767"/>
            <a:ext cx="570489" cy="570489"/>
          </a:xfrm>
          <a:prstGeom prst="rect">
            <a:avLst/>
          </a:prstGeom>
        </p:spPr>
      </p:pic>
      <p:pic>
        <p:nvPicPr>
          <p:cNvPr id="38" name="Graphic 37" descr="Clipboard Checked outline">
            <a:extLst>
              <a:ext uri="{FF2B5EF4-FFF2-40B4-BE49-F238E27FC236}">
                <a16:creationId xmlns:a16="http://schemas.microsoft.com/office/drawing/2014/main" id="{2C9911E1-0439-4CA1-821C-4BB748751898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3762858" y="4650155"/>
            <a:ext cx="576626" cy="576626"/>
          </a:xfrm>
          <a:prstGeom prst="rect">
            <a:avLst/>
          </a:prstGeom>
        </p:spPr>
      </p:pic>
      <p:pic>
        <p:nvPicPr>
          <p:cNvPr id="70" name="Graphic 69" descr="Scales of justice outline">
            <a:extLst>
              <a:ext uri="{FF2B5EF4-FFF2-40B4-BE49-F238E27FC236}">
                <a16:creationId xmlns:a16="http://schemas.microsoft.com/office/drawing/2014/main" id="{2B4971B6-BFAE-4090-8C04-3E2B0033311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282881" y="3521323"/>
            <a:ext cx="561822" cy="561822"/>
          </a:xfrm>
          <a:prstGeom prst="rect">
            <a:avLst/>
          </a:prstGeom>
        </p:spPr>
      </p:pic>
      <p:pic>
        <p:nvPicPr>
          <p:cNvPr id="43" name="Graphic 42" descr="Users outline">
            <a:extLst>
              <a:ext uri="{FF2B5EF4-FFF2-40B4-BE49-F238E27FC236}">
                <a16:creationId xmlns:a16="http://schemas.microsoft.com/office/drawing/2014/main" id="{2251BCE6-46B7-434B-99C9-6517662C9BCD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962586" y="2380944"/>
            <a:ext cx="526759" cy="526759"/>
          </a:xfrm>
          <a:prstGeom prst="rect">
            <a:avLst/>
          </a:prstGeom>
        </p:spPr>
      </p:pic>
      <p:sp>
        <p:nvSpPr>
          <p:cNvPr id="44" name="Footer Placeholder 43">
            <a:extLst>
              <a:ext uri="{FF2B5EF4-FFF2-40B4-BE49-F238E27FC236}">
                <a16:creationId xmlns:a16="http://schemas.microsoft.com/office/drawing/2014/main" id="{1240BC85-9A1D-48F9-9EFC-EC40FD103AD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54" name="Slide Number Placeholder 53">
            <a:extLst>
              <a:ext uri="{FF2B5EF4-FFF2-40B4-BE49-F238E27FC236}">
                <a16:creationId xmlns:a16="http://schemas.microsoft.com/office/drawing/2014/main" id="{738D715D-A13A-4D20-9977-FF323242D31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PWC and Thommessen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2</a:t>
            </a:fld>
            <a:endParaRPr lang="nb-NO" noProof="1"/>
          </a:p>
        </p:txBody>
      </p:sp>
    </p:spTree>
    <p:custDataLst>
      <p:custData r:id="rId2"/>
      <p:custData r:id="rId3"/>
    </p:custDataLst>
    <p:extLst>
      <p:ext uri="{BB962C8B-B14F-4D97-AF65-F5344CB8AC3E}">
        <p14:creationId xmlns:p14="http://schemas.microsoft.com/office/powerpoint/2010/main" val="20011758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B81B599-92F1-4DFF-8C29-D555D7EE0B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7498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2" name="think-cell Slide" r:id="rId82" imgW="622" imgH="623" progId="TCLayout.ActiveDocument.1">
                  <p:embed/>
                </p:oleObj>
              </mc:Choice>
              <mc:Fallback>
                <p:oleObj name="think-cell Slide" r:id="rId82" imgW="622" imgH="6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B81B599-92F1-4DFF-8C29-D555D7EE0B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B1243A8-753D-49E9-8950-5034F7548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625" y="433943"/>
            <a:ext cx="10658400" cy="1118288"/>
          </a:xfrm>
        </p:spPr>
        <p:txBody>
          <a:bodyPr vert="horz"/>
          <a:lstStyle/>
          <a:p>
            <a:r>
              <a:rPr lang="en-GB" sz="2800" dirty="0"/>
              <a:t>Key workstreams and timeline // Oslo Børs/Euronext Expand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4D30DE-AF88-40C2-AB00-071C75509E4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Open Sans"/>
                <a:ea typeface="+mn-ea"/>
                <a:cs typeface="+mn-cs"/>
              </a:rPr>
              <a:t>05/04/2022</a:t>
            </a:r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30DFC9D-1832-4D4E-AB48-EF6FEE9526D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17550" y="2657475"/>
            <a:ext cx="10660063" cy="18415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35CA69-5A1C-4A78-9C9C-89A0658D1E84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17550" y="4524375"/>
            <a:ext cx="10660063" cy="18415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F68CCE0-96F4-4B06-8585-B1D373D7D99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7550" y="5626100"/>
            <a:ext cx="10660063" cy="18415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2FAB46-D2BA-474B-863C-CBE785FB7D9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7550" y="4892675"/>
            <a:ext cx="10660063" cy="18415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4C1FFF-8F73-4090-B1DA-83D2BE7E3E3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17550" y="1741488"/>
            <a:ext cx="10660063" cy="18415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3FA7869-73CF-4FFE-A9B5-6D15F35CEC20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7550" y="3208338"/>
            <a:ext cx="10660063" cy="18415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A8379D-F69D-4918-8551-0A91FE751B8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17550" y="3759200"/>
            <a:ext cx="10660063" cy="18415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3EBA8238-0FB1-4642-A233-0E35FD503B34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816225" y="1109663"/>
            <a:ext cx="8561388" cy="16827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15875" rIns="0" bIns="15875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0184C80-DE63-4451-B20E-004930336649}" type="datetime'''''2''''''0''''''''''''''''''''''2''''''''''''''''''''''2'">
              <a:rPr lang="en-GB" altLang="en-US" sz="900" b="1" smtClean="0">
                <a:effectLst/>
              </a:rPr>
              <a:pPr/>
              <a:t>2022</a:t>
            </a:fld>
            <a:endParaRPr kumimoji="0" lang="en-GB" sz="900" b="1" i="0" strike="noStrike" kern="1200" cap="none" spc="5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740FEAF4-2557-46E6-A4BB-D137178B760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816225" y="1277938"/>
            <a:ext cx="887413" cy="16827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15875" rIns="0" bIns="15875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ED540D8-B8F2-47B2-BCB9-0632D5199064}" type="datetime'''''''''''''''''M''''''''''''''''''''a''''''y'''''''''''''''''">
              <a:rPr lang="en-GB" altLang="en-US" sz="900" smtClean="0">
                <a:effectLst/>
              </a:rPr>
              <a:pPr/>
              <a:t>May</a:t>
            </a:fld>
            <a:endParaRPr kumimoji="0" lang="en-GB" sz="900" b="0" i="0" strike="noStrike" kern="1200" cap="none" spc="5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6BEBF6D-0AE8-4D36-901E-48A59219B40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703638" y="1277938"/>
            <a:ext cx="1330325" cy="16827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15875" rIns="0" bIns="15875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C36A007-D642-405A-87B7-ADE4391A41DB}" type="datetime'''''''''''''''Ju''''n'''''''''''''''''''''''''''">
              <a:rPr lang="en-GB" altLang="en-US" sz="900" smtClean="0">
                <a:effectLst/>
              </a:rPr>
              <a:pPr/>
              <a:t>Jun</a:t>
            </a:fld>
            <a:endParaRPr kumimoji="0" lang="en-GB" sz="900" b="0" i="0" strike="noStrike" kern="1200" cap="none" spc="5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1CA6B9C-7C87-40AD-A568-A0B53134E48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033963" y="1277938"/>
            <a:ext cx="1374775" cy="16827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15875" rIns="0" bIns="15875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7B70C33-7759-44D9-801E-958CACA6BD88}" type="datetime'''''''''''''J''''u''''''l'''''''''''''''''''''''''''''''''">
              <a:rPr lang="en-GB" altLang="en-US" sz="900" smtClean="0">
                <a:effectLst/>
              </a:rPr>
              <a:pPr/>
              <a:t>Jul</a:t>
            </a:fld>
            <a:endParaRPr kumimoji="0" lang="en-GB" sz="900" b="0" i="0" strike="noStrike" kern="1200" cap="none" spc="5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EEC372D0-DCBF-40EB-8025-B05E096A7F0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408738" y="1277938"/>
            <a:ext cx="1376363" cy="16827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15875" rIns="0" bIns="15875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8CD1B22-C484-47D6-9E10-27774035B404}" type="datetime'''''''A''''''''''ug'''''''">
              <a:rPr lang="en-GB" altLang="en-US" sz="900" smtClean="0">
                <a:effectLst/>
              </a:rPr>
              <a:pPr/>
              <a:t>Aug</a:t>
            </a:fld>
            <a:endParaRPr kumimoji="0" lang="en-GB" sz="900" b="0" i="0" strike="noStrike" kern="1200" cap="none" spc="5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DD2C1F81-1359-447A-902F-129AC90136E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785100" y="1277938"/>
            <a:ext cx="1330325" cy="16827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15875" rIns="0" bIns="15875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664B8AA-0415-4781-879E-B602B913E543}" type="datetime'''''''''''''S''''''''''''''e''''''''''''p'''''''''">
              <a:rPr lang="en-GB" altLang="en-US" sz="900" smtClean="0">
                <a:effectLst/>
              </a:rPr>
              <a:pPr/>
              <a:t>Sep</a:t>
            </a:fld>
            <a:endParaRPr kumimoji="0" lang="en-GB" sz="900" b="0" i="0" strike="noStrike" kern="1200" cap="none" spc="5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53B5099-ECBF-4A66-BA38-56BE260E85C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115425" y="1277938"/>
            <a:ext cx="1374775" cy="16827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15875" rIns="0" bIns="15875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2BC577F-EF8C-4F42-B92B-BD66B221306B}" type="datetime'''''''''''O''''''''''''''''''''c''t'''''">
              <a:rPr lang="en-GB" altLang="en-US" sz="900" smtClean="0">
                <a:effectLst/>
              </a:rPr>
              <a:pPr/>
              <a:t>Oct</a:t>
            </a:fld>
            <a:endParaRPr kumimoji="0" lang="en-GB" sz="900" b="0" i="0" strike="noStrike" kern="1200" cap="none" spc="5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23A197D4-988B-4344-8300-9A4A8FD19FB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490200" y="1277938"/>
            <a:ext cx="887413" cy="16827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15875" rIns="0" bIns="15875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567AB74-A09C-43CB-BD4F-0206C3BF9B95}" type="datetime'''''''''''''N''''''''''''''''''''o''''''v'''''''''''''''''">
              <a:rPr lang="en-GB" altLang="en-US" sz="900" smtClean="0">
                <a:effectLst/>
              </a:rPr>
              <a:pPr/>
              <a:t>Nov</a:t>
            </a:fld>
            <a:endParaRPr kumimoji="0" lang="en-GB" sz="900" b="0" i="0" strike="noStrike" kern="1200" cap="none" spc="5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D03A896B-2630-41B8-B06F-4BE15A7C9548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>
            <a:off x="2816225" y="1446213"/>
            <a:ext cx="0" cy="51038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7C3731D-8645-40A8-B919-DE94DDB3DAA4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>
            <a:off x="11377613" y="1446213"/>
            <a:ext cx="0" cy="51038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33FF122E-BF1C-4BEC-8459-70601ADC6F3A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>
            <a:off x="717550" y="1446213"/>
            <a:ext cx="0" cy="51038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1407CE7F-3648-F43C-6DD7-B42A4E48B85B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717550" y="5810250"/>
            <a:ext cx="106600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AC1F01F-C332-8CBF-DFF8-F85F9DBABAF6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717550" y="3392488"/>
            <a:ext cx="106600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1E44BCB-7852-CE42-2CA4-472E7769A1C1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717550" y="5076825"/>
            <a:ext cx="106600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0A232EC-1643-A834-0E62-93EAD771A2A0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717550" y="2841625"/>
            <a:ext cx="106600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3654921-7886-306B-63CB-C1A91D17B3AE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717550" y="4708525"/>
            <a:ext cx="106600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BB4F803-6FB9-7C9D-1DBD-79D8220627B0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717550" y="1925638"/>
            <a:ext cx="106600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009EB4C-5530-7F3A-E71D-00168D4BD96F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717550" y="3943350"/>
            <a:ext cx="106600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9ECB85AD-FB26-440F-8F8F-CCF8268BBB04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>
            <a:off x="717550" y="6550025"/>
            <a:ext cx="106600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8B28F506-0716-460D-AB86-4C773585040F}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 bwMode="auto">
          <a:xfrm>
            <a:off x="717550" y="1446213"/>
            <a:ext cx="106600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2" name="Rectangle 171">
            <a:extLst>
              <a:ext uri="{FF2B5EF4-FFF2-40B4-BE49-F238E27FC236}">
                <a16:creationId xmlns:a16="http://schemas.microsoft.com/office/drawing/2014/main" id="{F446394F-3C87-4EB8-9B71-8F960510E3DA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8494713" y="5310188"/>
            <a:ext cx="309563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4C507B81-99F7-4965-B6DD-F89FF1B6A58B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7251700" y="3994150"/>
            <a:ext cx="2573338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21E96455-B19B-4174-A4F1-B96334393812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7473950" y="5310188"/>
            <a:ext cx="222250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7A797D8E-9513-4014-AB9A-582B63A17F9A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9691688" y="6226175"/>
            <a:ext cx="311150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E0A8EA07-EB1E-4FF9-B2EF-C4D77673B5CF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2949575" y="2892425"/>
            <a:ext cx="6653213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E2BDD89-673E-4E70-97AA-CBB8A8C7CDD2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3703638" y="2159000"/>
            <a:ext cx="5634038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853C0C05-3790-4688-AF10-4B368AAAA42F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9337675" y="6043613"/>
            <a:ext cx="354013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42A9AA9A-3C72-4138-939A-82189A8A240E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3703638" y="1976438"/>
            <a:ext cx="6299200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784C9CF6-B7D4-4AAA-BC2D-91DEACFA77D2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2820988" y="2341563"/>
            <a:ext cx="4254500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nb-NO" sz="1600" noProof="0" dirty="0" err="1"/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00B232CB-5486-4FB8-9286-34BFB0062C49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6408738" y="4759325"/>
            <a:ext cx="3594100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1F334200-4E1D-4EDF-97E5-BC22802A957D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2949575" y="3443288"/>
            <a:ext cx="6697663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1F6BD898-1229-47B7-88D2-125451ACA1A4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3703638" y="5127625"/>
            <a:ext cx="6299200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40" name="Isosceles Triangle 139">
            <a:extLst>
              <a:ext uri="{FF2B5EF4-FFF2-40B4-BE49-F238E27FC236}">
                <a16:creationId xmlns:a16="http://schemas.microsoft.com/office/drawing/2014/main" id="{E613DC00-8F85-4A18-B8CB-31FE1F10CB4D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9590088" y="4186238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36" name="Isosceles Triangle 135">
            <a:extLst>
              <a:ext uri="{FF2B5EF4-FFF2-40B4-BE49-F238E27FC236}">
                <a16:creationId xmlns:a16="http://schemas.microsoft.com/office/drawing/2014/main" id="{FE8DCF7A-D555-4FB7-840B-68D72EFB522C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8658225" y="4186238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22" name="Isosceles Triangle 121">
            <a:extLst>
              <a:ext uri="{FF2B5EF4-FFF2-40B4-BE49-F238E27FC236}">
                <a16:creationId xmlns:a16="http://schemas.microsoft.com/office/drawing/2014/main" id="{ECE6F4FD-4D3C-429A-B3BA-8DE465AA53BC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9590088" y="3603625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09" name="Isosceles Triangle 108">
            <a:extLst>
              <a:ext uri="{FF2B5EF4-FFF2-40B4-BE49-F238E27FC236}">
                <a16:creationId xmlns:a16="http://schemas.microsoft.com/office/drawing/2014/main" id="{4F2A637F-B76F-45EF-919E-B2952D321592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8348663" y="3052763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221" name="Isosceles Triangle 220">
            <a:extLst>
              <a:ext uri="{FF2B5EF4-FFF2-40B4-BE49-F238E27FC236}">
                <a16:creationId xmlns:a16="http://schemas.microsoft.com/office/drawing/2014/main" id="{57EE8876-02F3-47D2-B630-97836B2F7825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9990138" y="1585913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32" name="Isosceles Triangle 131">
            <a:extLst>
              <a:ext uri="{FF2B5EF4-FFF2-40B4-BE49-F238E27FC236}">
                <a16:creationId xmlns:a16="http://schemas.microsoft.com/office/drawing/2014/main" id="{00801B93-877C-4799-89AA-D0C2E13EFA61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7194550" y="4186238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68" name="Isosceles Triangle 167">
            <a:extLst>
              <a:ext uri="{FF2B5EF4-FFF2-40B4-BE49-F238E27FC236}">
                <a16:creationId xmlns:a16="http://schemas.microsoft.com/office/drawing/2014/main" id="{2455741E-F175-4B9E-BBF1-0B83466DBEEA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7727950" y="5287963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18" name="Isosceles Triangle 117">
            <a:extLst>
              <a:ext uri="{FF2B5EF4-FFF2-40B4-BE49-F238E27FC236}">
                <a16:creationId xmlns:a16="http://schemas.microsoft.com/office/drawing/2014/main" id="{500CF883-8B5B-49CB-A4CE-4802CFD530A2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7105650" y="3603625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206" name="Isosceles Triangle 205">
            <a:extLst>
              <a:ext uri="{FF2B5EF4-FFF2-40B4-BE49-F238E27FC236}">
                <a16:creationId xmlns:a16="http://schemas.microsoft.com/office/drawing/2014/main" id="{A885852E-752F-417E-A927-06A7ACD2651B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9634538" y="6203950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217" name="Isosceles Triangle 216">
            <a:extLst>
              <a:ext uri="{FF2B5EF4-FFF2-40B4-BE49-F238E27FC236}">
                <a16:creationId xmlns:a16="http://schemas.microsoft.com/office/drawing/2014/main" id="{848453EF-B70B-4A43-93A3-06B9E7A60543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9945688" y="6386513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96" name="Isosceles Triangle 195">
            <a:extLst>
              <a:ext uri="{FF2B5EF4-FFF2-40B4-BE49-F238E27FC236}">
                <a16:creationId xmlns:a16="http://schemas.microsoft.com/office/drawing/2014/main" id="{C0D3B097-323F-44EC-84F5-34F719B29173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9280525" y="5838825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913B6D05-BCE6-4AEC-9268-8DDD745AFA3C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763588" y="3759200"/>
            <a:ext cx="9779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200" b="1" dirty="0">
                <a:solidFill>
                  <a:schemeClr val="accent3">
                    <a:lumMod val="50000"/>
                  </a:schemeClr>
                </a:solidFill>
                <a:latin typeface="Open Sans"/>
              </a:rPr>
              <a:t>OSE</a:t>
            </a:r>
            <a:r>
              <a:rPr lang="en-GB" sz="1200" dirty="0">
                <a:solidFill>
                  <a:schemeClr val="accent3">
                    <a:lumMod val="50000"/>
                  </a:schemeClr>
                </a:solidFill>
                <a:latin typeface="Open Sans"/>
              </a:rPr>
              <a:t> </a:t>
            </a:r>
            <a:r>
              <a:rPr lang="en-GB" sz="1200" b="1" dirty="0">
                <a:solidFill>
                  <a:schemeClr val="accent3">
                    <a:lumMod val="50000"/>
                  </a:schemeClr>
                </a:solidFill>
                <a:latin typeface="Open Sans"/>
              </a:rPr>
              <a:t>process</a:t>
            </a:r>
            <a:endParaRPr kumimoji="0" lang="en-GB" sz="1200" b="1" i="0" u="none" strike="noStrike" kern="1200" cap="none" spc="5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84CADBF0-8976-48ED-B58F-EE0C3129E83C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763588" y="5626100"/>
            <a:ext cx="13509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200" b="1" dirty="0">
                <a:solidFill>
                  <a:schemeClr val="accent3">
                    <a:lumMod val="50000"/>
                  </a:schemeClr>
                </a:solidFill>
              </a:rPr>
              <a:t>Public execution</a:t>
            </a:r>
            <a:endParaRPr kumimoji="0" lang="en-GB" sz="1200" b="1" i="0" strike="noStrike" kern="1200" cap="none" spc="5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</a:endParaRPr>
          </a:p>
        </p:txBody>
      </p:sp>
      <p:sp useBgFill="1">
        <p:nvSpPr>
          <p:cNvPr id="116" name="Text Placeholder 2">
            <a:extLst>
              <a:ext uri="{FF2B5EF4-FFF2-40B4-BE49-F238E27FC236}">
                <a16:creationId xmlns:a16="http://schemas.microsoft.com/office/drawing/2014/main" id="{768E9378-77C4-4C8D-B99F-C5A96716DF98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7261225" y="3570288"/>
            <a:ext cx="1638300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Prospectus </a:t>
            </a:r>
            <a:r>
              <a:rPr lang="en-GB" altLang="en-US" sz="1200" dirty="0"/>
              <a:t>f</a:t>
            </a:r>
            <a:r>
              <a:rPr lang="en-GB" altLang="en-US" sz="1200" dirty="0">
                <a:effectLst/>
              </a:rPr>
              <a:t>irst filing</a:t>
            </a:r>
            <a:endParaRPr lang="en-GB" sz="1200" noProof="0" dirty="0"/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5E378516-0C45-43B8-9519-CCE47DE4D1B7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763588" y="5260975"/>
            <a:ext cx="20066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200" b="1" dirty="0"/>
              <a:t>Early investor education</a:t>
            </a:r>
            <a:endParaRPr kumimoji="0" lang="en-GB" sz="1200" b="1" i="0" strike="noStrike" kern="1200" cap="none" spc="5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 useBgFill="1">
        <p:nvSpPr>
          <p:cNvPr id="161" name="Text Placeholder 2">
            <a:extLst>
              <a:ext uri="{FF2B5EF4-FFF2-40B4-BE49-F238E27FC236}">
                <a16:creationId xmlns:a16="http://schemas.microsoft.com/office/drawing/2014/main" id="{69F4279B-B1E3-444E-9604-8190E2B6A0D9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5926138" y="5254625"/>
            <a:ext cx="1501775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noProof="0" dirty="0"/>
              <a:t>Early look meetings</a:t>
            </a:r>
          </a:p>
        </p:txBody>
      </p:sp>
      <p:sp useBgFill="1">
        <p:nvSpPr>
          <p:cNvPr id="134" name="Text Placeholder 2">
            <a:extLst>
              <a:ext uri="{FF2B5EF4-FFF2-40B4-BE49-F238E27FC236}">
                <a16:creationId xmlns:a16="http://schemas.microsoft.com/office/drawing/2014/main" id="{174B8D29-0B9A-4D6E-94F1-F62E97316566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7913688" y="4322763"/>
            <a:ext cx="1604963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Updated intro report</a:t>
            </a:r>
            <a:endParaRPr lang="en-GB" sz="1200" noProof="0" dirty="0"/>
          </a:p>
        </p:txBody>
      </p:sp>
      <p:sp useBgFill="1">
        <p:nvSpPr>
          <p:cNvPr id="138" name="Text Placeholder 2">
            <a:extLst>
              <a:ext uri="{FF2B5EF4-FFF2-40B4-BE49-F238E27FC236}">
                <a16:creationId xmlns:a16="http://schemas.microsoft.com/office/drawing/2014/main" id="{933A29E5-E873-41B6-965C-97CD36405A53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9745663" y="4084638"/>
            <a:ext cx="1449388" cy="319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Listing application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GB" sz="900" noProof="0" dirty="0"/>
          </a:p>
        </p:txBody>
      </p:sp>
      <p:sp useBgFill="1">
        <p:nvSpPr>
          <p:cNvPr id="166" name="Text Placeholder 2">
            <a:extLst>
              <a:ext uri="{FF2B5EF4-FFF2-40B4-BE49-F238E27FC236}">
                <a16:creationId xmlns:a16="http://schemas.microsoft.com/office/drawing/2014/main" id="{0BEBFBB0-2911-4EA1-BDB5-BA571F88ADEA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6991350" y="5424488"/>
            <a:ext cx="1589088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Analyst presentation</a:t>
            </a:r>
            <a:endParaRPr lang="en-GB" sz="1200" noProof="0" dirty="0"/>
          </a:p>
        </p:txBody>
      </p:sp>
      <p:sp useBgFill="1">
        <p:nvSpPr>
          <p:cNvPr id="107" name="Text Placeholder 2">
            <a:extLst>
              <a:ext uri="{FF2B5EF4-FFF2-40B4-BE49-F238E27FC236}">
                <a16:creationId xmlns:a16="http://schemas.microsoft.com/office/drawing/2014/main" id="{45AA6825-108A-4EAB-AA7B-A6CBBC2BF5AA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8504238" y="3019425"/>
            <a:ext cx="1716088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Due diligence meeting</a:t>
            </a:r>
            <a:endParaRPr lang="en-GB" sz="1200" noProof="0" dirty="0"/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0C8EFD0F-F9B5-4FA6-9DC1-23776F55D98F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763588" y="5078413"/>
            <a:ext cx="1798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200" b="1" dirty="0"/>
              <a:t>Marketing documents</a:t>
            </a:r>
            <a:endParaRPr kumimoji="0" lang="en-GB" sz="1200" b="1" i="0" strike="noStrike" kern="1200" cap="none" spc="5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 useBgFill="1">
        <p:nvSpPr>
          <p:cNvPr id="198" name="Text Placeholder 2">
            <a:extLst>
              <a:ext uri="{FF2B5EF4-FFF2-40B4-BE49-F238E27FC236}">
                <a16:creationId xmlns:a16="http://schemas.microsoft.com/office/drawing/2014/main" id="{FD114EC4-F1E0-4FA5-AF7B-CD8B317EA7F7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9737725" y="5988050"/>
            <a:ext cx="355600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noProof="0" dirty="0"/>
              <a:t>PDIE</a:t>
            </a: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25907475-7E1C-4B17-87D1-F6BD6C751752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763588" y="4524375"/>
            <a:ext cx="1916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200" b="1" dirty="0">
                <a:solidFill>
                  <a:schemeClr val="accent3">
                    <a:lumMod val="50000"/>
                  </a:schemeClr>
                </a:solidFill>
              </a:rPr>
              <a:t>Transaction documents</a:t>
            </a:r>
            <a:endParaRPr kumimoji="0" lang="en-GB" sz="1200" b="1" i="0" strike="noStrike" kern="1200" cap="none" spc="5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</a:endParaRPr>
          </a:p>
        </p:txBody>
      </p:sp>
      <p:sp useBgFill="1">
        <p:nvSpPr>
          <p:cNvPr id="170" name="Text Placeholder 2">
            <a:extLst>
              <a:ext uri="{FF2B5EF4-FFF2-40B4-BE49-F238E27FC236}">
                <a16:creationId xmlns:a16="http://schemas.microsoft.com/office/drawing/2014/main" id="{5AD7195F-9DD9-4CA1-AF61-BB99D9848B5A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8850313" y="5254625"/>
            <a:ext cx="909638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noProof="0" dirty="0"/>
              <a:t>Pilot fishin</a:t>
            </a:r>
            <a:r>
              <a:rPr lang="en-GB" sz="1200" dirty="0"/>
              <a:t>g</a:t>
            </a:r>
            <a:endParaRPr lang="en-GB" sz="1200" noProof="0" dirty="0"/>
          </a:p>
        </p:txBody>
      </p:sp>
      <p:sp useBgFill="1">
        <p:nvSpPr>
          <p:cNvPr id="219" name="Text Placeholder 2">
            <a:extLst>
              <a:ext uri="{FF2B5EF4-FFF2-40B4-BE49-F238E27FC236}">
                <a16:creationId xmlns:a16="http://schemas.microsoft.com/office/drawing/2014/main" id="{E2ECC483-7335-4350-989C-CDBC14880AFC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10145713" y="1460500"/>
            <a:ext cx="1185863" cy="3651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First day of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trading (22 Oct</a:t>
            </a:r>
            <a:r>
              <a:rPr lang="en-GB" altLang="en-US" sz="900" dirty="0">
                <a:effectLst/>
              </a:rPr>
              <a:t>)</a:t>
            </a:r>
            <a:endParaRPr lang="en-GB" sz="900" noProof="0" dirty="0"/>
          </a:p>
        </p:txBody>
      </p:sp>
      <p:sp useBgFill="1">
        <p:nvSpPr>
          <p:cNvPr id="215" name="Text Placeholder 2">
            <a:extLst>
              <a:ext uri="{FF2B5EF4-FFF2-40B4-BE49-F238E27FC236}">
                <a16:creationId xmlns:a16="http://schemas.microsoft.com/office/drawing/2014/main" id="{8F039BE7-FCD2-4AC7-9B6D-6B976F9CBA06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10101263" y="6353175"/>
            <a:ext cx="525463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Pricing</a:t>
            </a:r>
            <a:endParaRPr lang="en-GB" sz="1200" noProof="0" dirty="0"/>
          </a:p>
        </p:txBody>
      </p:sp>
      <p:sp useBgFill="1">
        <p:nvSpPr>
          <p:cNvPr id="194" name="Text Placeholder 2">
            <a:extLst>
              <a:ext uri="{FF2B5EF4-FFF2-40B4-BE49-F238E27FC236}">
                <a16:creationId xmlns:a16="http://schemas.microsoft.com/office/drawing/2014/main" id="{E363A88B-7510-4A33-BEF0-BF808933235B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9436100" y="5805488"/>
            <a:ext cx="225425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ITF</a:t>
            </a:r>
            <a:endParaRPr lang="en-GB" sz="1200" noProof="0" dirty="0"/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8ACEA01B-154E-4912-8A4E-4FC0AD596679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763588" y="2292350"/>
            <a:ext cx="13716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Aft>
                <a:spcPts val="1800"/>
              </a:spcAft>
              <a:buNone/>
            </a:pPr>
            <a:r>
              <a:rPr lang="en-GB" sz="1200" b="1" dirty="0"/>
              <a:t>Financial history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7CD8762-D203-465B-95EF-7AF483AB51D6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763588" y="2657475"/>
            <a:ext cx="11049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200" b="1" i="0" u="none" strike="noStrike" kern="1200" cap="none" spc="5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ue diligence</a:t>
            </a:r>
            <a:endParaRPr kumimoji="0" lang="en-GB" sz="1200" b="1" i="0" u="none" strike="noStrike" kern="1200" cap="none" spc="5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510D109-CF1C-49DB-A1B6-12BFA983B400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763588" y="1741488"/>
            <a:ext cx="11239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200" b="1" dirty="0">
                <a:solidFill>
                  <a:schemeClr val="accent3">
                    <a:lumMod val="50000"/>
                  </a:schemeClr>
                </a:solidFill>
                <a:latin typeface="Open Sans"/>
              </a:rPr>
              <a:t>IPO readiness</a:t>
            </a:r>
          </a:p>
        </p:txBody>
      </p:sp>
      <p:sp useBgFill="1">
        <p:nvSpPr>
          <p:cNvPr id="204" name="Text Placeholder 2">
            <a:extLst>
              <a:ext uri="{FF2B5EF4-FFF2-40B4-BE49-F238E27FC236}">
                <a16:creationId xmlns:a16="http://schemas.microsoft.com/office/drawing/2014/main" id="{6363EE81-8EFE-4D36-9694-8EB789F732F0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7766050" y="6170613"/>
            <a:ext cx="1827213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noProof="0" dirty="0"/>
              <a:t>Bookbuilding/roadshow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B697B48-BF86-4829-BAD2-5442F6329197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763588" y="3208338"/>
            <a:ext cx="9032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200" b="1" i="0" u="none" strike="noStrike" kern="1200" cap="none" spc="5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rospectus</a:t>
            </a:r>
            <a:endParaRPr kumimoji="0" lang="en-GB" sz="1200" b="1" i="0" u="none" strike="noStrike" kern="1200" cap="none" spc="5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F86AB8A-886B-4B3E-B977-6D3A8435BE66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763588" y="1247775"/>
            <a:ext cx="633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54822D9-0A99-411F-9F29-8006FFD9D331}" type="datetime'''A''c''''''''''''''t''''''''i''v''''i''''''ty'''''">
              <a:rPr kumimoji="0" lang="en-GB" altLang="en-US" sz="1200" b="1" i="0" u="none" strike="noStrike" kern="1200" cap="none" spc="50" normalizeH="0" baseline="0" noProof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ctivity</a:t>
            </a:fld>
            <a:endParaRPr kumimoji="0" lang="en-GB" sz="1200" b="1" i="0" u="none" strike="noStrike" kern="1200" cap="none" spc="50" normalizeH="0" baseline="0" noProof="0" dirty="0">
              <a:ln>
                <a:noFill/>
              </a:ln>
              <a:solidFill>
                <a:srgbClr val="0D40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E9E68329-C12C-40BD-8851-4161FB55738E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763588" y="4892675"/>
            <a:ext cx="15128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en-GB" sz="1200" b="1" i="0" strike="noStrike" kern="1200" cap="none" spc="5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</a:rPr>
              <a:t>Marketing </a:t>
            </a:r>
            <a:r>
              <a:rPr lang="en-GB" sz="1200" b="1" dirty="0">
                <a:solidFill>
                  <a:schemeClr val="accent3">
                    <a:lumMod val="50000"/>
                  </a:schemeClr>
                </a:solidFill>
              </a:rPr>
              <a:t>process</a:t>
            </a:r>
            <a:endParaRPr kumimoji="0" lang="en-GB" sz="1200" b="1" i="0" strike="noStrike" kern="1200" cap="none" spc="5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6FD4DD96-9C6A-47F8-A9AD-6504F1868F3F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763588" y="2109788"/>
            <a:ext cx="13160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altLang="en-US" sz="1200" b="1" dirty="0"/>
              <a:t>VPS registration</a:t>
            </a:r>
            <a:endParaRPr lang="en-GB" sz="1200" b="1" dirty="0"/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0225F9EE-7636-4F78-A604-7647C83B967E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763588" y="1927225"/>
            <a:ext cx="1795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altLang="en-US" sz="1200" b="1" dirty="0"/>
              <a:t>Corporate resolutions</a:t>
            </a:r>
            <a:endParaRPr lang="en-GB" sz="1200" b="1" dirty="0"/>
          </a:p>
        </p:txBody>
      </p:sp>
      <p:sp useBgFill="1">
        <p:nvSpPr>
          <p:cNvPr id="130" name="Text Placeholder 2">
            <a:extLst>
              <a:ext uri="{FF2B5EF4-FFF2-40B4-BE49-F238E27FC236}">
                <a16:creationId xmlns:a16="http://schemas.microsoft.com/office/drawing/2014/main" id="{E1DC8C89-F537-4A8C-8E41-93D5C3038D60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7350125" y="4152900"/>
            <a:ext cx="949325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Intro report </a:t>
            </a:r>
          </a:p>
        </p:txBody>
      </p:sp>
      <p:sp useBgFill="1">
        <p:nvSpPr>
          <p:cNvPr id="120" name="Text Placeholder 2">
            <a:extLst>
              <a:ext uri="{FF2B5EF4-FFF2-40B4-BE49-F238E27FC236}">
                <a16:creationId xmlns:a16="http://schemas.microsoft.com/office/drawing/2014/main" id="{D661D8EE-984D-4A44-BD08-AF6C2FC84D8C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9745663" y="3570288"/>
            <a:ext cx="1566863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Prospectus approval</a:t>
            </a:r>
            <a:endParaRPr lang="en-GB" sz="1200" noProof="0" dirty="0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50EC6BD2-4D71-4BD9-A45C-377B09C7EF7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638E4A64-C2E6-44D6-98B2-BC2086CD050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PWC and Thommessen 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3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7504039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B81B599-92F1-4DFF-8C29-D555D7EE0B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7006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6" name="think-cell Slide" r:id="rId74" imgW="622" imgH="623" progId="TCLayout.ActiveDocument.1">
                  <p:embed/>
                </p:oleObj>
              </mc:Choice>
              <mc:Fallback>
                <p:oleObj name="think-cell Slide" r:id="rId74" imgW="622" imgH="6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B81B599-92F1-4DFF-8C29-D555D7EE0B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B1243A8-753D-49E9-8950-5034F7548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625" y="433943"/>
            <a:ext cx="10658400" cy="1118288"/>
          </a:xfrm>
        </p:spPr>
        <p:txBody>
          <a:bodyPr vert="horz"/>
          <a:lstStyle/>
          <a:p>
            <a:r>
              <a:rPr lang="en-GB" sz="2800" dirty="0"/>
              <a:t>Key workstreams and timeline // Euronext Growth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4D30DE-AF88-40C2-AB00-071C75509E4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Open Sans"/>
                <a:ea typeface="+mn-ea"/>
                <a:cs typeface="+mn-cs"/>
              </a:rPr>
              <a:t>05/04/2022</a:t>
            </a:r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3A6A1E-F55F-40CC-BB01-8311BAE54B4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15963" y="1903413"/>
            <a:ext cx="10660063" cy="18415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AB9C52-D67A-4806-9438-7CB9A0EA4EFB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15963" y="4840288"/>
            <a:ext cx="10660063" cy="18415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952D83C-EE91-4DD9-A4D4-C744D64BF85A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5963" y="3187700"/>
            <a:ext cx="10660063" cy="18415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1FB5BD0-20B4-4CAE-B342-9101009FD9F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5963" y="3738563"/>
            <a:ext cx="10660063" cy="18415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2E7D308-B6B1-4E3C-8CDF-BF446112DD9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15963" y="2819400"/>
            <a:ext cx="10660063" cy="18415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3B15381-CB8E-401C-A157-3B82A3D5D979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5963" y="4471988"/>
            <a:ext cx="10660063" cy="18415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4CEC484-6688-42DE-84E8-AA8565A0A56E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15963" y="5573713"/>
            <a:ext cx="10660063" cy="18415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3EBA8238-0FB1-4642-A233-0E35FD503B34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843213" y="1160463"/>
            <a:ext cx="8532813" cy="22383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0638" rIns="0" bIns="20638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FF66E8A-F1C5-43BA-A66E-DCEC19F35009}" type="datetime'''''2''''''0''''''''''''''''''''''2''''''''''''''''''''''2'">
              <a:rPr kumimoji="0" lang="en-GB" altLang="en-US" sz="1200" b="1" i="0" u="none" strike="noStrike" kern="1200" cap="none" spc="50" normalizeH="0" baseline="0" noProof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2</a:t>
            </a:fld>
            <a:endParaRPr kumimoji="0" lang="en-GB" sz="1200" b="1" i="0" u="none" strike="noStrike" kern="1200" cap="none" spc="50" normalizeH="0" baseline="0" noProof="0" dirty="0">
              <a:ln>
                <a:noFill/>
              </a:ln>
              <a:solidFill>
                <a:srgbClr val="0D40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EEC372D0-DCBF-40EB-8025-B05E096A7F0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843213" y="1384300"/>
            <a:ext cx="2619375" cy="22383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0638" rIns="0" bIns="20638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8CD1B22-C484-47D6-9E10-27774035B404}" type="datetime'''''''A''''''''''ug'''''''">
              <a:rPr lang="en-GB" altLang="en-US" sz="1200" smtClean="0">
                <a:effectLst/>
              </a:rPr>
              <a:pPr/>
              <a:t>Aug</a:t>
            </a:fld>
            <a:endParaRPr kumimoji="0" lang="en-GB" sz="1200" b="0" i="0" strike="noStrike" kern="1200" cap="none" spc="5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DD2C1F81-1359-447A-902F-129AC90136E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462588" y="1384300"/>
            <a:ext cx="2533650" cy="22383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0638" rIns="0" bIns="20638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664B8AA-0415-4781-879E-B602B913E543}" type="datetime'''''''''''''S''''''''''''''e''''''''''''p'''''''''">
              <a:rPr lang="en-GB" altLang="en-US" sz="1200" smtClean="0">
                <a:effectLst/>
              </a:rPr>
              <a:pPr/>
              <a:t>Sep</a:t>
            </a:fld>
            <a:endParaRPr kumimoji="0" lang="en-GB" sz="1200" b="0" i="0" strike="noStrike" kern="1200" cap="none" spc="5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53B5099-ECBF-4A66-BA38-56BE260E85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996238" y="1384300"/>
            <a:ext cx="2619375" cy="22383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0638" rIns="0" bIns="20638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2BC577F-EF8C-4F42-B92B-BD66B221306B}" type="datetime'''''''''''O''''''''''''''''''''c''t'''''">
              <a:rPr lang="en-GB" altLang="en-US" sz="1200" smtClean="0">
                <a:effectLst/>
              </a:rPr>
              <a:pPr/>
              <a:t>Oct</a:t>
            </a:fld>
            <a:endParaRPr kumimoji="0" lang="en-GB" sz="1200" b="0" i="0" strike="noStrike" kern="1200" cap="none" spc="5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60A15281-EE45-4E79-8F70-ED3BE89062E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615613" y="1384300"/>
            <a:ext cx="760413" cy="22383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0638" rIns="0" bIns="20638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493DF4B-88E6-4839-94A3-FD2D4E782C78}" type="datetime'''''''N''''o''''''''''''''''''v'''''''''''">
              <a:rPr lang="en-GB" altLang="en-US" sz="1200" smtClean="0">
                <a:effectLst/>
              </a:rPr>
              <a:pPr/>
              <a:t>Nov</a:t>
            </a:fld>
            <a:endParaRPr kumimoji="0" lang="en-GB" sz="1200" b="0" i="0" strike="noStrike" kern="1200" cap="none" spc="5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D03A896B-2630-41B8-B06F-4BE15A7C9548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>
            <a:off x="2843213" y="1608138"/>
            <a:ext cx="0" cy="4927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7C3731D-8645-40A8-B919-DE94DDB3DAA4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11376025" y="1608138"/>
            <a:ext cx="0" cy="4927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33FF122E-BF1C-4BEC-8459-70601ADC6F3A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715963" y="1608138"/>
            <a:ext cx="0" cy="4927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E9651F05-9A34-A8A3-D5F5-B0B91592FAFB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715963" y="5757863"/>
            <a:ext cx="106600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D02368-3714-5EC4-A88B-9DE2BFC3E7FC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715963" y="3922713"/>
            <a:ext cx="106600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B81E674-B7B2-F085-1DEF-E414FBD8AC6C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715963" y="2087563"/>
            <a:ext cx="106600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D98E2A65-AB54-04D1-905C-E4A70EC61378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715963" y="5024438"/>
            <a:ext cx="106600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ADA799D5-2D9B-1E16-E7CE-F2F43CE94F22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715963" y="3371850"/>
            <a:ext cx="106600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4CE327A-FB04-4298-E1AB-4FED06C61B9B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715963" y="3003550"/>
            <a:ext cx="106600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63796893-A775-1D65-D402-C9C5FE124784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715963" y="4656138"/>
            <a:ext cx="106600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9ECB85AD-FB26-440F-8F8F-CCF8268BBB04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>
            <a:off x="715963" y="6535738"/>
            <a:ext cx="106600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8B28F506-0716-460D-AB86-4C773585040F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auto">
          <a:xfrm>
            <a:off x="715963" y="1608138"/>
            <a:ext cx="106600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77BAA84F-DFB8-4828-86E7-DAA4C21EB82E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8504238" y="5986463"/>
            <a:ext cx="506413" cy="79375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10A2B1DE-FB46-4840-84BD-09E186EBDDBA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5462588" y="5070475"/>
            <a:ext cx="3548063" cy="79375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499649C-272B-4AE1-B9F4-7E36E121ABFB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4025900" y="2133600"/>
            <a:ext cx="5322888" cy="79375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0F8BE8D-ECD3-44BF-A43C-8EFCC4D8ED04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7827963" y="3417888"/>
            <a:ext cx="1858963" cy="79375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15C079D-702C-413A-95D7-34E8CCD33003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4025900" y="2316163"/>
            <a:ext cx="3886200" cy="79375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EE4765D-6376-4392-8926-641735EDEB69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4025900" y="3049588"/>
            <a:ext cx="3886200" cy="79375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A632E5D2-3147-420F-9B7F-8F5BC714E19F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5462588" y="4702175"/>
            <a:ext cx="3970338" cy="79375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5EB5C7D4-3788-4A14-B0CC-63FF134BC78E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9010650" y="6188075"/>
            <a:ext cx="168275" cy="79375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nb-NO" sz="1600" noProof="0" dirty="0" err="1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5E73E19-3AA3-451A-AE36-DD215627E581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2847975" y="2498725"/>
            <a:ext cx="2614613" cy="79375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0BB1D1D-8C37-47C3-8190-CCE649469128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6475413" y="5253038"/>
            <a:ext cx="1943100" cy="79375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29CCE758-E728-4834-BFBE-96BA33B69290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4532313" y="3968750"/>
            <a:ext cx="5154613" cy="79375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99" name="Isosceles Triangle 98">
            <a:extLst>
              <a:ext uri="{FF2B5EF4-FFF2-40B4-BE49-F238E27FC236}">
                <a16:creationId xmlns:a16="http://schemas.microsoft.com/office/drawing/2014/main" id="{CA34AAED-7309-42AC-9473-2BB75FD737A0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9291638" y="4133850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76" name="Isosceles Triangle 175">
            <a:extLst>
              <a:ext uri="{FF2B5EF4-FFF2-40B4-BE49-F238E27FC236}">
                <a16:creationId xmlns:a16="http://schemas.microsoft.com/office/drawing/2014/main" id="{84F4FE0C-10C2-42AB-9681-E9B71839C00E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8361363" y="5235575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62" name="Isosceles Triangle 61">
            <a:extLst>
              <a:ext uri="{FF2B5EF4-FFF2-40B4-BE49-F238E27FC236}">
                <a16:creationId xmlns:a16="http://schemas.microsoft.com/office/drawing/2014/main" id="{ECD42063-9BFA-4E7B-B2F8-F7EBE2DF8DD1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9037638" y="3582988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59" name="Isosceles Triangle 158">
            <a:extLst>
              <a:ext uri="{FF2B5EF4-FFF2-40B4-BE49-F238E27FC236}">
                <a16:creationId xmlns:a16="http://schemas.microsoft.com/office/drawing/2014/main" id="{9773D80B-EFFF-4278-99CC-AF170C5896F2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5911850" y="5235575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40" name="Isosceles Triangle 39">
            <a:extLst>
              <a:ext uri="{FF2B5EF4-FFF2-40B4-BE49-F238E27FC236}">
                <a16:creationId xmlns:a16="http://schemas.microsoft.com/office/drawing/2014/main" id="{B185D988-5AB7-4DE8-946C-62D9B650EAA9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7770813" y="3582988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94" name="Isosceles Triangle 93">
            <a:extLst>
              <a:ext uri="{FF2B5EF4-FFF2-40B4-BE49-F238E27FC236}">
                <a16:creationId xmlns:a16="http://schemas.microsoft.com/office/drawing/2014/main" id="{27B7740B-561F-422B-995F-4EDF24724682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7770813" y="4133850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327A806C-D62E-49D7-A0D4-B5F1FD156213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8447088" y="5786438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224" name="Isosceles Triangle 223">
            <a:extLst>
              <a:ext uri="{FF2B5EF4-FFF2-40B4-BE49-F238E27FC236}">
                <a16:creationId xmlns:a16="http://schemas.microsoft.com/office/drawing/2014/main" id="{6FA85813-9329-40D5-8EB0-45DF574AA9E5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9629775" y="1747838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nb-NO" sz="1600" noProof="0" dirty="0" err="1"/>
          </a:p>
        </p:txBody>
      </p:sp>
      <p:sp>
        <p:nvSpPr>
          <p:cNvPr id="216" name="Isosceles Triangle 215">
            <a:extLst>
              <a:ext uri="{FF2B5EF4-FFF2-40B4-BE49-F238E27FC236}">
                <a16:creationId xmlns:a16="http://schemas.microsoft.com/office/drawing/2014/main" id="{7DDF37B2-D8F8-4A4B-B45E-8B976F0E8E22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9121775" y="6372225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nb-NO" sz="1600" noProof="0" dirty="0" err="1"/>
          </a:p>
        </p:txBody>
      </p:sp>
      <p:sp useBgFill="1">
        <p:nvSpPr>
          <p:cNvPr id="167" name="Text Placeholder 2">
            <a:extLst>
              <a:ext uri="{FF2B5EF4-FFF2-40B4-BE49-F238E27FC236}">
                <a16:creationId xmlns:a16="http://schemas.microsoft.com/office/drawing/2014/main" id="{419DFEC2-0609-410E-A1B2-9027CE5833FE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8402638" y="4270375"/>
            <a:ext cx="1892300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/>
              <a:t>Submission of final draft</a:t>
            </a:r>
            <a:endParaRPr lang="en-GB" sz="1200" noProof="0" dirty="0"/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E281975A-C55F-4DF1-A4CC-CA3EEF9753E3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776288" y="4840288"/>
            <a:ext cx="15128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200" b="1" dirty="0">
                <a:solidFill>
                  <a:schemeClr val="accent3">
                    <a:lumMod val="50000"/>
                  </a:schemeClr>
                </a:solidFill>
              </a:rPr>
              <a:t>Marketing process</a:t>
            </a:r>
            <a:endParaRPr kumimoji="0" lang="en-GB" sz="1200" b="1" i="0" strike="noStrike" kern="1200" cap="none" spc="5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1D220D11-0CFB-25D0-FB04-75E77B58879C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76288" y="2454275"/>
            <a:ext cx="8239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altLang="en-US" sz="1200" b="1" dirty="0"/>
              <a:t>Financials</a:t>
            </a:r>
            <a:endParaRPr lang="en-GB" sz="1200" b="1" dirty="0"/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0B8270BF-B0E0-3B4E-29EE-FCF82777A5B3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76288" y="5026025"/>
            <a:ext cx="1798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200" b="1" dirty="0"/>
              <a:t>Marketing documents</a:t>
            </a:r>
            <a:endParaRPr kumimoji="0" lang="en-GB" sz="1200" b="1" i="0" strike="noStrike" kern="1200" cap="none" spc="5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 useBgFill="1">
        <p:nvSpPr>
          <p:cNvPr id="81" name="Text Placeholder 2">
            <a:extLst>
              <a:ext uri="{FF2B5EF4-FFF2-40B4-BE49-F238E27FC236}">
                <a16:creationId xmlns:a16="http://schemas.microsoft.com/office/drawing/2014/main" id="{53BA9887-3D57-4942-8FFC-EE34568436B7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6756400" y="5359400"/>
            <a:ext cx="1382713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Investor meetings</a:t>
            </a:r>
            <a:endParaRPr lang="en-GB" sz="1200" noProof="0" dirty="0"/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64942739-B317-53BF-E395-9FDA53388738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76288" y="2271713"/>
            <a:ext cx="13160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altLang="en-US" sz="1200" b="1" dirty="0"/>
              <a:t>VPS registration</a:t>
            </a:r>
            <a:endParaRPr lang="en-GB" sz="1200" b="1" dirty="0"/>
          </a:p>
        </p:txBody>
      </p:sp>
      <p:sp useBgFill="1">
        <p:nvSpPr>
          <p:cNvPr id="222" name="Text Placeholder 2">
            <a:extLst>
              <a:ext uri="{FF2B5EF4-FFF2-40B4-BE49-F238E27FC236}">
                <a16:creationId xmlns:a16="http://schemas.microsoft.com/office/drawing/2014/main" id="{92A21572-6D7E-4DA3-B035-29AC6F31564C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9785350" y="1622425"/>
            <a:ext cx="1400175" cy="3651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/>
              <a:t>First day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/>
              <a:t>of trading (22 Oct)</a:t>
            </a:r>
            <a:endParaRPr lang="en-GB" sz="1200" noProof="0" dirty="0"/>
          </a:p>
        </p:txBody>
      </p:sp>
      <p:sp useBgFill="1">
        <p:nvSpPr>
          <p:cNvPr id="201" name="Text Placeholder 2">
            <a:extLst>
              <a:ext uri="{FF2B5EF4-FFF2-40B4-BE49-F238E27FC236}">
                <a16:creationId xmlns:a16="http://schemas.microsoft.com/office/drawing/2014/main" id="{E7460B2E-05B6-4AED-BB69-12E7ABE901DC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516938" y="5202238"/>
            <a:ext cx="1836738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/>
              <a:t>Cornerstone agreement</a:t>
            </a:r>
            <a:endParaRPr lang="en-GB" sz="1200" noProof="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510D109-CF1C-49DB-A1B6-12BFA983B400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776288" y="1903413"/>
            <a:ext cx="11239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200" b="1" dirty="0">
                <a:solidFill>
                  <a:schemeClr val="accent3">
                    <a:lumMod val="50000"/>
                  </a:schemeClr>
                </a:solidFill>
                <a:latin typeface="Open Sans"/>
              </a:rPr>
              <a:t>IPO readiness</a:t>
            </a:r>
          </a:p>
        </p:txBody>
      </p:sp>
      <p:sp useBgFill="1">
        <p:nvSpPr>
          <p:cNvPr id="133" name="Text Placeholder 2">
            <a:extLst>
              <a:ext uri="{FF2B5EF4-FFF2-40B4-BE49-F238E27FC236}">
                <a16:creationId xmlns:a16="http://schemas.microsoft.com/office/drawing/2014/main" id="{FDBFEC1F-42BD-43CA-ACA4-27EDE7E0E5C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6237288" y="3549650"/>
            <a:ext cx="1492250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/>
              <a:t>Introductory report</a:t>
            </a:r>
            <a:endParaRPr lang="en-GB" sz="1200" noProof="0" dirty="0"/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C28FE3EB-730D-50FD-6DDE-384DA097318B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776288" y="2089150"/>
            <a:ext cx="1795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altLang="en-US" sz="1200" b="1" dirty="0"/>
              <a:t>Corporate resolutions</a:t>
            </a:r>
            <a:endParaRPr lang="en-GB" sz="1200" b="1" dirty="0"/>
          </a:p>
        </p:txBody>
      </p:sp>
      <p:sp useBgFill="1">
        <p:nvSpPr>
          <p:cNvPr id="75" name="Text Placeholder 2">
            <a:extLst>
              <a:ext uri="{FF2B5EF4-FFF2-40B4-BE49-F238E27FC236}">
                <a16:creationId xmlns:a16="http://schemas.microsoft.com/office/drawing/2014/main" id="{16D19AD7-80B0-4BE1-B197-7926BA959727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9056688" y="5935663"/>
            <a:ext cx="355600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200" dirty="0">
                <a:effectLst/>
              </a:rPr>
              <a:t>PDIE</a:t>
            </a:r>
            <a:endParaRPr kumimoji="0" lang="en-GB" sz="1200" b="0" i="0" strike="noStrike" kern="1200" cap="none" spc="5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4" name="Text Placeholder 2">
            <a:extLst>
              <a:ext uri="{FF2B5EF4-FFF2-40B4-BE49-F238E27FC236}">
                <a16:creationId xmlns:a16="http://schemas.microsoft.com/office/drawing/2014/main" id="{E7250731-300A-4D56-B739-63C93F50328B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776288" y="4471988"/>
            <a:ext cx="1916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200" b="1" dirty="0">
                <a:solidFill>
                  <a:schemeClr val="accent3">
                    <a:lumMod val="50000"/>
                  </a:schemeClr>
                </a:solidFill>
              </a:rPr>
              <a:t>Transaction documents</a:t>
            </a:r>
            <a:endParaRPr kumimoji="0" lang="en-GB" sz="1200" b="1" i="0" strike="noStrike" kern="1200" cap="none" spc="5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84CADBF0-8976-48ED-B58F-EE0C3129E83C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776288" y="5573713"/>
            <a:ext cx="13509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200" b="1" dirty="0">
                <a:solidFill>
                  <a:schemeClr val="accent3">
                    <a:lumMod val="50000"/>
                  </a:schemeClr>
                </a:solidFill>
              </a:rPr>
              <a:t>Public execution</a:t>
            </a:r>
            <a:endParaRPr kumimoji="0" lang="en-GB" sz="1200" b="1" i="0" strike="noStrike" kern="1200" cap="none" spc="5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</a:endParaRPr>
          </a:p>
        </p:txBody>
      </p:sp>
      <p:sp useBgFill="1">
        <p:nvSpPr>
          <p:cNvPr id="213" name="Text Placeholder 2">
            <a:extLst>
              <a:ext uri="{FF2B5EF4-FFF2-40B4-BE49-F238E27FC236}">
                <a16:creationId xmlns:a16="http://schemas.microsoft.com/office/drawing/2014/main" id="{8D3010FB-88FB-4C1D-9139-4DE4CC62E444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9224963" y="6137275"/>
            <a:ext cx="1011238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200" dirty="0"/>
              <a:t>Bookbuilding</a:t>
            </a:r>
            <a:endParaRPr kumimoji="0" lang="en-GB" sz="1200" b="0" i="0" strike="noStrike" kern="1200" cap="none" spc="5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 useBgFill="1">
        <p:nvSpPr>
          <p:cNvPr id="137" name="Text Placeholder 2">
            <a:extLst>
              <a:ext uri="{FF2B5EF4-FFF2-40B4-BE49-F238E27FC236}">
                <a16:creationId xmlns:a16="http://schemas.microsoft.com/office/drawing/2014/main" id="{A6DEB20F-1D47-4FBC-B58D-B050556B761F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9193213" y="3549650"/>
            <a:ext cx="1403350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/>
              <a:t>Listing application</a:t>
            </a:r>
            <a:endParaRPr lang="en-GB" sz="1200" noProof="0" dirty="0"/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91C548F0-EFBC-4154-943A-E97CD72E2608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776288" y="3738563"/>
            <a:ext cx="1862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200" b="1" dirty="0">
                <a:solidFill>
                  <a:schemeClr val="accent3">
                    <a:lumMod val="50000"/>
                  </a:schemeClr>
                </a:solidFill>
              </a:rPr>
              <a:t>Information document</a:t>
            </a:r>
            <a:endParaRPr kumimoji="0" lang="en-GB" sz="1200" b="1" i="0" strike="noStrike" kern="1200" cap="none" spc="5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F86AB8A-886B-4B3E-B977-6D3A8435BE66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776288" y="1404938"/>
            <a:ext cx="633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54822D9-0A99-411F-9F29-8006FFD9D331}" type="datetime'''A''c''''''''''''''t''''''''i''v''''i''''''ty'''''">
              <a:rPr kumimoji="0" lang="en-GB" altLang="en-US" sz="1200" b="1" i="0" u="none" strike="noStrike" kern="1200" cap="none" spc="50" normalizeH="0" baseline="0" noProof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ctivity</a:t>
            </a:fld>
            <a:endParaRPr kumimoji="0" lang="en-GB" sz="1200" b="1" i="0" u="none" strike="noStrike" kern="1200" cap="none" spc="50" normalizeH="0" baseline="0" noProof="0" dirty="0">
              <a:ln>
                <a:noFill/>
              </a:ln>
              <a:solidFill>
                <a:srgbClr val="0D40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 useBgFill="1">
        <p:nvSpPr>
          <p:cNvPr id="218" name="Text Placeholder 2">
            <a:extLst>
              <a:ext uri="{FF2B5EF4-FFF2-40B4-BE49-F238E27FC236}">
                <a16:creationId xmlns:a16="http://schemas.microsoft.com/office/drawing/2014/main" id="{8B0158F5-8BC4-41FC-8CC2-393924E05D5A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9277350" y="6338888"/>
            <a:ext cx="525463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/>
              <a:t>Pricing</a:t>
            </a:r>
            <a:endParaRPr kumimoji="0" lang="en-GB" sz="1200" b="0" i="0" strike="noStrike" kern="1200" cap="none" spc="5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 useBgFill="1">
        <p:nvSpPr>
          <p:cNvPr id="70" name="Text Placeholder 2">
            <a:extLst>
              <a:ext uri="{FF2B5EF4-FFF2-40B4-BE49-F238E27FC236}">
                <a16:creationId xmlns:a16="http://schemas.microsoft.com/office/drawing/2014/main" id="{9903F8A1-B8D0-4835-92B3-FA9CBC63EB11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8602663" y="5753100"/>
            <a:ext cx="271463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ITF </a:t>
            </a:r>
            <a:endParaRPr kumimoji="0" lang="en-GB" sz="1200" b="0" i="0" strike="noStrike" kern="1200" cap="none" spc="5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913B6D05-BCE6-4AEC-9268-8DDD745AFA3C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776288" y="3187700"/>
            <a:ext cx="9779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200" b="1" dirty="0">
                <a:solidFill>
                  <a:schemeClr val="accent3">
                    <a:lumMod val="50000"/>
                  </a:schemeClr>
                </a:solidFill>
                <a:latin typeface="Open Sans"/>
              </a:rPr>
              <a:t>OSE</a:t>
            </a:r>
            <a:r>
              <a:rPr lang="en-GB" sz="1200" dirty="0">
                <a:solidFill>
                  <a:schemeClr val="accent3">
                    <a:lumMod val="50000"/>
                  </a:schemeClr>
                </a:solidFill>
                <a:latin typeface="Open Sans"/>
              </a:rPr>
              <a:t> </a:t>
            </a:r>
            <a:r>
              <a:rPr lang="en-GB" sz="1200" b="1" dirty="0">
                <a:solidFill>
                  <a:schemeClr val="accent3">
                    <a:lumMod val="50000"/>
                  </a:schemeClr>
                </a:solidFill>
                <a:latin typeface="Open Sans"/>
              </a:rPr>
              <a:t>process</a:t>
            </a:r>
            <a:endParaRPr kumimoji="0" lang="en-GB" sz="1200" b="1" i="0" u="none" strike="noStrike" kern="1200" cap="none" spc="5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Open Sans"/>
            </a:endParaRPr>
          </a:p>
        </p:txBody>
      </p:sp>
      <p:sp useBgFill="1">
        <p:nvSpPr>
          <p:cNvPr id="164" name="Text Placeholder 2">
            <a:extLst>
              <a:ext uri="{FF2B5EF4-FFF2-40B4-BE49-F238E27FC236}">
                <a16:creationId xmlns:a16="http://schemas.microsoft.com/office/drawing/2014/main" id="{935D4BCC-FE92-45B3-A35C-94C1EDF46C33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5864225" y="4100513"/>
            <a:ext cx="1865313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/>
              <a:t>Submission of first draft</a:t>
            </a:r>
            <a:endParaRPr lang="en-GB" sz="1200" noProof="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7CD8762-D203-465B-95EF-7AF483AB51D6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776288" y="2819400"/>
            <a:ext cx="11049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200" b="1" i="0" u="none" strike="noStrike" kern="1200" cap="none" spc="5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ue diligence</a:t>
            </a:r>
            <a:endParaRPr kumimoji="0" lang="en-GB" sz="1200" b="1" i="0" u="none" strike="noStrike" kern="1200" cap="none" spc="5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 useBgFill="1">
        <p:nvSpPr>
          <p:cNvPr id="191" name="Text Placeholder 2">
            <a:extLst>
              <a:ext uri="{FF2B5EF4-FFF2-40B4-BE49-F238E27FC236}">
                <a16:creationId xmlns:a16="http://schemas.microsoft.com/office/drawing/2014/main" id="{19CECEC2-FEE1-486A-AA3F-5F63E3C719AD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4281488" y="5202238"/>
            <a:ext cx="1589088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/>
              <a:t>Analyst presentation</a:t>
            </a:r>
            <a:endParaRPr lang="en-GB" sz="1200" noProof="0" dirty="0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0BDC6F5F-75B8-5CCA-7C6D-BB8DD17BA232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776288" y="5208588"/>
            <a:ext cx="20066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200" b="1" dirty="0"/>
              <a:t>Early investor education</a:t>
            </a:r>
            <a:endParaRPr kumimoji="0" lang="en-GB" sz="1200" b="1" i="0" strike="noStrike" kern="1200" cap="none" spc="5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5" name="Footer Placeholder 24">
            <a:extLst>
              <a:ext uri="{FF2B5EF4-FFF2-40B4-BE49-F238E27FC236}">
                <a16:creationId xmlns:a16="http://schemas.microsoft.com/office/drawing/2014/main" id="{F4F70CA9-ABBE-4FBD-A2EC-FEC0F0DD04A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2AB9035C-19F7-4362-9378-E68E792468B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PWC and Thommessen 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4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6874479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B81B599-92F1-4DFF-8C29-D555D7EE0B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9605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6" name="think-cell Slide" r:id="rId82" imgW="622" imgH="623" progId="TCLayout.ActiveDocument.1">
                  <p:embed/>
                </p:oleObj>
              </mc:Choice>
              <mc:Fallback>
                <p:oleObj name="think-cell Slide" r:id="rId82" imgW="622" imgH="6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B81B599-92F1-4DFF-8C29-D555D7EE0B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B1243A8-753D-49E9-8950-5034F7548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625" y="433943"/>
            <a:ext cx="10658400" cy="1118288"/>
          </a:xfrm>
        </p:spPr>
        <p:txBody>
          <a:bodyPr vert="horz"/>
          <a:lstStyle/>
          <a:p>
            <a:r>
              <a:rPr lang="en-GB" sz="2800" dirty="0"/>
              <a:t>Key workstreams and timeline // Oslo Børs/Euronext Expand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4D30DE-AF88-40C2-AB00-071C75509E4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Open Sans"/>
                <a:ea typeface="+mn-ea"/>
                <a:cs typeface="+mn-cs"/>
              </a:rPr>
              <a:t>05/04/2022</a:t>
            </a:r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30DFC9D-1832-4D4E-AB48-EF6FEE9526D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66763" y="2659063"/>
            <a:ext cx="10660063" cy="18415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35CA69-5A1C-4A78-9C9C-89A0658D1E84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66763" y="4525963"/>
            <a:ext cx="10660063" cy="18415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F68CCE0-96F4-4B06-8585-B1D373D7D99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66763" y="5627688"/>
            <a:ext cx="10660063" cy="18415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2FAB46-D2BA-474B-863C-CBE785FB7D9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66763" y="4894263"/>
            <a:ext cx="10660063" cy="18415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4C1FFF-8F73-4090-B1DA-83D2BE7E3E3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66763" y="1743075"/>
            <a:ext cx="10660063" cy="18415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3FA7869-73CF-4FFE-A9B5-6D15F35CEC20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66763" y="3209925"/>
            <a:ext cx="10660063" cy="18415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A8379D-F69D-4918-8551-0A91FE751B8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66763" y="3760788"/>
            <a:ext cx="10660063" cy="18415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3EBA8238-0FB1-4642-A233-0E35FD503B34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865438" y="1111250"/>
            <a:ext cx="8561388" cy="16827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15875" rIns="0" bIns="15875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0184C80-DE63-4451-B20E-004930336649}" type="datetime'''''2''''''0''''''''''''''''''''''2''''''''''''''''''''''2'">
              <a:rPr lang="en-GB" altLang="en-US" sz="900" b="1" smtClean="0">
                <a:effectLst/>
              </a:rPr>
              <a:pPr/>
              <a:t>2022</a:t>
            </a:fld>
            <a:endParaRPr kumimoji="0" lang="en-GB" sz="900" b="1" i="0" strike="noStrike" kern="1200" cap="none" spc="5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740FEAF4-2557-46E6-A4BB-D137178B760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865438" y="1279525"/>
            <a:ext cx="887413" cy="16827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15875" rIns="0" bIns="15875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ED540D8-B8F2-47B2-BCB9-0632D5199064}" type="datetime'''''''''''''''''M''''''''''''''''''''a''''''y'''''''''''''''''">
              <a:rPr lang="en-GB" altLang="en-US" sz="900" smtClean="0">
                <a:effectLst/>
              </a:rPr>
              <a:pPr/>
              <a:t>May</a:t>
            </a:fld>
            <a:endParaRPr kumimoji="0" lang="en-GB" sz="900" b="0" i="0" strike="noStrike" kern="1200" cap="none" spc="5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6BEBF6D-0AE8-4D36-901E-48A59219B40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752850" y="1279525"/>
            <a:ext cx="1330325" cy="16827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15875" rIns="0" bIns="15875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C36A007-D642-405A-87B7-ADE4391A41DB}" type="datetime'''''''''''''''Ju''''n'''''''''''''''''''''''''''">
              <a:rPr lang="en-GB" altLang="en-US" sz="900" smtClean="0">
                <a:effectLst/>
              </a:rPr>
              <a:pPr/>
              <a:t>Jun</a:t>
            </a:fld>
            <a:endParaRPr kumimoji="0" lang="en-GB" sz="900" b="0" i="0" strike="noStrike" kern="1200" cap="none" spc="5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1CA6B9C-7C87-40AD-A568-A0B53134E48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083175" y="1279525"/>
            <a:ext cx="1374775" cy="16827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15875" rIns="0" bIns="15875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7B70C33-7759-44D9-801E-958CACA6BD88}" type="datetime'''''''''''''J''''u''''''l'''''''''''''''''''''''''''''''''">
              <a:rPr lang="en-GB" altLang="en-US" sz="900" smtClean="0">
                <a:effectLst/>
              </a:rPr>
              <a:pPr/>
              <a:t>Jul</a:t>
            </a:fld>
            <a:endParaRPr kumimoji="0" lang="en-GB" sz="900" b="0" i="0" strike="noStrike" kern="1200" cap="none" spc="5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EEC372D0-DCBF-40EB-8025-B05E096A7F0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457950" y="1279525"/>
            <a:ext cx="1376363" cy="16827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15875" rIns="0" bIns="15875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8CD1B22-C484-47D6-9E10-27774035B404}" type="datetime'''''''A''''''''''ug'''''''">
              <a:rPr lang="en-GB" altLang="en-US" sz="900" smtClean="0">
                <a:effectLst/>
              </a:rPr>
              <a:pPr/>
              <a:t>Aug</a:t>
            </a:fld>
            <a:endParaRPr kumimoji="0" lang="en-GB" sz="900" b="0" i="0" strike="noStrike" kern="1200" cap="none" spc="5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DD2C1F81-1359-447A-902F-129AC90136E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834313" y="1279525"/>
            <a:ext cx="1330325" cy="16827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15875" rIns="0" bIns="15875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664B8AA-0415-4781-879E-B602B913E543}" type="datetime'''''''''''''S''''''''''''''e''''''''''''p'''''''''">
              <a:rPr lang="en-GB" altLang="en-US" sz="900" smtClean="0">
                <a:effectLst/>
              </a:rPr>
              <a:pPr/>
              <a:t>Sep</a:t>
            </a:fld>
            <a:endParaRPr kumimoji="0" lang="en-GB" sz="900" b="0" i="0" strike="noStrike" kern="1200" cap="none" spc="5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53B5099-ECBF-4A66-BA38-56BE260E85C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164638" y="1279525"/>
            <a:ext cx="1374775" cy="16827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15875" rIns="0" bIns="15875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2BC577F-EF8C-4F42-B92B-BD66B221306B}" type="datetime'''''''''''O''''''''''''''''''''c''t'''''">
              <a:rPr lang="en-GB" altLang="en-US" sz="900" smtClean="0">
                <a:effectLst/>
              </a:rPr>
              <a:pPr/>
              <a:t>Oct</a:t>
            </a:fld>
            <a:endParaRPr kumimoji="0" lang="en-GB" sz="900" b="0" i="0" strike="noStrike" kern="1200" cap="none" spc="5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23A197D4-988B-4344-8300-9A4A8FD19FB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539413" y="1279525"/>
            <a:ext cx="887413" cy="16827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15875" rIns="0" bIns="15875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567AB74-A09C-43CB-BD4F-0206C3BF9B95}" type="datetime'''''''''''''N''''''''''''''''''''o''''''v'''''''''''''''''">
              <a:rPr lang="en-GB" altLang="en-US" sz="900" smtClean="0">
                <a:effectLst/>
              </a:rPr>
              <a:pPr/>
              <a:t>Nov</a:t>
            </a:fld>
            <a:endParaRPr kumimoji="0" lang="en-GB" sz="900" b="0" i="0" strike="noStrike" kern="1200" cap="none" spc="5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D03A896B-2630-41B8-B06F-4BE15A7C9548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>
            <a:off x="2865438" y="1447800"/>
            <a:ext cx="0" cy="51038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7C3731D-8645-40A8-B919-DE94DDB3DAA4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>
            <a:off x="11426825" y="1447800"/>
            <a:ext cx="0" cy="51038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33FF122E-BF1C-4BEC-8459-70601ADC6F3A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>
            <a:off x="766763" y="1447800"/>
            <a:ext cx="0" cy="51038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1407CE7F-3648-F43C-6DD7-B42A4E48B85B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766763" y="5811838"/>
            <a:ext cx="106600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AC1F01F-C332-8CBF-DFF8-F85F9DBABAF6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766763" y="3394075"/>
            <a:ext cx="106600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1E44BCB-7852-CE42-2CA4-472E7769A1C1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766763" y="5078413"/>
            <a:ext cx="106600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0A232EC-1643-A834-0E62-93EAD771A2A0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766763" y="2843213"/>
            <a:ext cx="106600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3654921-7886-306B-63CB-C1A91D17B3AE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766763" y="4710113"/>
            <a:ext cx="106600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BB4F803-6FB9-7C9D-1DBD-79D8220627B0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766763" y="1927225"/>
            <a:ext cx="106600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009EB4C-5530-7F3A-E71D-00168D4BD96F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766763" y="3944938"/>
            <a:ext cx="106600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9ECB85AD-FB26-440F-8F8F-CCF8268BBB04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>
            <a:off x="766763" y="6551613"/>
            <a:ext cx="106600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8B28F506-0716-460D-AB86-4C773585040F}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 bwMode="auto">
          <a:xfrm>
            <a:off x="766763" y="1447800"/>
            <a:ext cx="106600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2" name="Rectangle 171">
            <a:extLst>
              <a:ext uri="{FF2B5EF4-FFF2-40B4-BE49-F238E27FC236}">
                <a16:creationId xmlns:a16="http://schemas.microsoft.com/office/drawing/2014/main" id="{F446394F-3C87-4EB8-9B71-8F960510E3DA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8543925" y="5311775"/>
            <a:ext cx="309563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4C507B81-99F7-4965-B6DD-F89FF1B6A58B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7300913" y="3995738"/>
            <a:ext cx="2573338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21E96455-B19B-4174-A4F1-B96334393812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7523163" y="5311775"/>
            <a:ext cx="222250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7A797D8E-9513-4014-AB9A-582B63A17F9A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9740900" y="6227763"/>
            <a:ext cx="311150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E0A8EA07-EB1E-4FF9-B2EF-C4D77673B5CF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2998788" y="2894013"/>
            <a:ext cx="6653213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E2BDD89-673E-4E70-97AA-CBB8A8C7CDD2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3752850" y="2160588"/>
            <a:ext cx="5634038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853C0C05-3790-4688-AF10-4B368AAAA42F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9386888" y="6045200"/>
            <a:ext cx="354013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42A9AA9A-3C72-4138-939A-82189A8A240E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3752850" y="1978025"/>
            <a:ext cx="6299200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784C9CF6-B7D4-4AAA-BC2D-91DEACFA77D2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2870200" y="2343150"/>
            <a:ext cx="4254500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nb-NO" sz="1600" noProof="0" dirty="0" err="1"/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00B232CB-5486-4FB8-9286-34BFB0062C49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6457950" y="4760913"/>
            <a:ext cx="3594100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1F334200-4E1D-4EDF-97E5-BC22802A957D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2998788" y="3444875"/>
            <a:ext cx="6697663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1F6BD898-1229-47B7-88D2-125451ACA1A4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3752850" y="5129213"/>
            <a:ext cx="6299200" cy="71438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40" name="Isosceles Triangle 139">
            <a:extLst>
              <a:ext uri="{FF2B5EF4-FFF2-40B4-BE49-F238E27FC236}">
                <a16:creationId xmlns:a16="http://schemas.microsoft.com/office/drawing/2014/main" id="{E613DC00-8F85-4A18-B8CB-31FE1F10CB4D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9639300" y="4187825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36" name="Isosceles Triangle 135">
            <a:extLst>
              <a:ext uri="{FF2B5EF4-FFF2-40B4-BE49-F238E27FC236}">
                <a16:creationId xmlns:a16="http://schemas.microsoft.com/office/drawing/2014/main" id="{FE8DCF7A-D555-4FB7-840B-68D72EFB522C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8707438" y="4187825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22" name="Isosceles Triangle 121">
            <a:extLst>
              <a:ext uri="{FF2B5EF4-FFF2-40B4-BE49-F238E27FC236}">
                <a16:creationId xmlns:a16="http://schemas.microsoft.com/office/drawing/2014/main" id="{ECE6F4FD-4D3C-429A-B3BA-8DE465AA53BC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9639300" y="3605213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09" name="Isosceles Triangle 108">
            <a:extLst>
              <a:ext uri="{FF2B5EF4-FFF2-40B4-BE49-F238E27FC236}">
                <a16:creationId xmlns:a16="http://schemas.microsoft.com/office/drawing/2014/main" id="{4F2A637F-B76F-45EF-919E-B2952D321592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8397875" y="3054350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221" name="Isosceles Triangle 220">
            <a:extLst>
              <a:ext uri="{FF2B5EF4-FFF2-40B4-BE49-F238E27FC236}">
                <a16:creationId xmlns:a16="http://schemas.microsoft.com/office/drawing/2014/main" id="{57EE8876-02F3-47D2-B630-97836B2F7825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10039350" y="1587500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32" name="Isosceles Triangle 131">
            <a:extLst>
              <a:ext uri="{FF2B5EF4-FFF2-40B4-BE49-F238E27FC236}">
                <a16:creationId xmlns:a16="http://schemas.microsoft.com/office/drawing/2014/main" id="{00801B93-877C-4799-89AA-D0C2E13EFA61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7243763" y="4187825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68" name="Isosceles Triangle 167">
            <a:extLst>
              <a:ext uri="{FF2B5EF4-FFF2-40B4-BE49-F238E27FC236}">
                <a16:creationId xmlns:a16="http://schemas.microsoft.com/office/drawing/2014/main" id="{2455741E-F175-4B9E-BBF1-0B83466DBEEA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7777163" y="5289550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18" name="Isosceles Triangle 117">
            <a:extLst>
              <a:ext uri="{FF2B5EF4-FFF2-40B4-BE49-F238E27FC236}">
                <a16:creationId xmlns:a16="http://schemas.microsoft.com/office/drawing/2014/main" id="{500CF883-8B5B-49CB-A4CE-4802CFD530A2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7154863" y="3605213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206" name="Isosceles Triangle 205">
            <a:extLst>
              <a:ext uri="{FF2B5EF4-FFF2-40B4-BE49-F238E27FC236}">
                <a16:creationId xmlns:a16="http://schemas.microsoft.com/office/drawing/2014/main" id="{A885852E-752F-417E-A927-06A7ACD2651B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9683750" y="6205538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217" name="Isosceles Triangle 216">
            <a:extLst>
              <a:ext uri="{FF2B5EF4-FFF2-40B4-BE49-F238E27FC236}">
                <a16:creationId xmlns:a16="http://schemas.microsoft.com/office/drawing/2014/main" id="{848453EF-B70B-4A43-93A3-06B9E7A60543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9994900" y="6388100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196" name="Isosceles Triangle 195">
            <a:extLst>
              <a:ext uri="{FF2B5EF4-FFF2-40B4-BE49-F238E27FC236}">
                <a16:creationId xmlns:a16="http://schemas.microsoft.com/office/drawing/2014/main" id="{C0D3B097-323F-44EC-84F5-34F719B29173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9329738" y="5840413"/>
            <a:ext cx="114300" cy="1143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en-GB" sz="1600" noProof="0" dirty="0" err="1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913B6D05-BCE6-4AEC-9268-8DDD745AFA3C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812800" y="3760788"/>
            <a:ext cx="9779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200" b="1" dirty="0">
                <a:solidFill>
                  <a:schemeClr val="accent3">
                    <a:lumMod val="50000"/>
                  </a:schemeClr>
                </a:solidFill>
                <a:latin typeface="Open Sans"/>
              </a:rPr>
              <a:t>OSE</a:t>
            </a:r>
            <a:r>
              <a:rPr lang="en-GB" sz="1200" dirty="0">
                <a:solidFill>
                  <a:schemeClr val="accent3">
                    <a:lumMod val="50000"/>
                  </a:schemeClr>
                </a:solidFill>
                <a:latin typeface="Open Sans"/>
              </a:rPr>
              <a:t> </a:t>
            </a:r>
            <a:r>
              <a:rPr lang="en-GB" sz="1200" b="1" dirty="0">
                <a:solidFill>
                  <a:schemeClr val="accent3">
                    <a:lumMod val="50000"/>
                  </a:schemeClr>
                </a:solidFill>
                <a:latin typeface="Open Sans"/>
              </a:rPr>
              <a:t>process</a:t>
            </a:r>
            <a:endParaRPr kumimoji="0" lang="en-GB" sz="1200" b="1" i="0" u="none" strike="noStrike" kern="1200" cap="none" spc="5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84CADBF0-8976-48ED-B58F-EE0C3129E83C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12800" y="5627688"/>
            <a:ext cx="13509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200" b="1" dirty="0">
                <a:solidFill>
                  <a:schemeClr val="accent3">
                    <a:lumMod val="50000"/>
                  </a:schemeClr>
                </a:solidFill>
              </a:rPr>
              <a:t>Public execution</a:t>
            </a:r>
            <a:endParaRPr kumimoji="0" lang="en-GB" sz="1200" b="1" i="0" strike="noStrike" kern="1200" cap="none" spc="5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</a:endParaRPr>
          </a:p>
        </p:txBody>
      </p:sp>
      <p:sp useBgFill="1">
        <p:nvSpPr>
          <p:cNvPr id="116" name="Text Placeholder 2">
            <a:extLst>
              <a:ext uri="{FF2B5EF4-FFF2-40B4-BE49-F238E27FC236}">
                <a16:creationId xmlns:a16="http://schemas.microsoft.com/office/drawing/2014/main" id="{768E9378-77C4-4C8D-B99F-C5A96716DF98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7310438" y="3571875"/>
            <a:ext cx="1638300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Prospectus </a:t>
            </a:r>
            <a:r>
              <a:rPr lang="en-GB" altLang="en-US" sz="1200" dirty="0"/>
              <a:t>f</a:t>
            </a:r>
            <a:r>
              <a:rPr lang="en-GB" altLang="en-US" sz="1200" dirty="0">
                <a:effectLst/>
              </a:rPr>
              <a:t>irst filing</a:t>
            </a:r>
            <a:endParaRPr lang="en-GB" sz="1200" noProof="0" dirty="0"/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5E378516-0C45-43B8-9519-CCE47DE4D1B7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812800" y="5262563"/>
            <a:ext cx="20066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200" b="1" dirty="0"/>
              <a:t>Early investor education</a:t>
            </a:r>
            <a:endParaRPr kumimoji="0" lang="en-GB" sz="1200" b="1" i="0" strike="noStrike" kern="1200" cap="none" spc="5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 useBgFill="1">
        <p:nvSpPr>
          <p:cNvPr id="161" name="Text Placeholder 2">
            <a:extLst>
              <a:ext uri="{FF2B5EF4-FFF2-40B4-BE49-F238E27FC236}">
                <a16:creationId xmlns:a16="http://schemas.microsoft.com/office/drawing/2014/main" id="{69F4279B-B1E3-444E-9604-8190E2B6A0D9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5975350" y="5256213"/>
            <a:ext cx="1501775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noProof="0" dirty="0"/>
              <a:t>Early look meetings</a:t>
            </a:r>
          </a:p>
        </p:txBody>
      </p:sp>
      <p:sp useBgFill="1">
        <p:nvSpPr>
          <p:cNvPr id="134" name="Text Placeholder 2">
            <a:extLst>
              <a:ext uri="{FF2B5EF4-FFF2-40B4-BE49-F238E27FC236}">
                <a16:creationId xmlns:a16="http://schemas.microsoft.com/office/drawing/2014/main" id="{174B8D29-0B9A-4D6E-94F1-F62E97316566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7962900" y="4324350"/>
            <a:ext cx="1604963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Updated intro report</a:t>
            </a:r>
            <a:endParaRPr lang="en-GB" sz="1200" noProof="0" dirty="0"/>
          </a:p>
        </p:txBody>
      </p:sp>
      <p:sp useBgFill="1">
        <p:nvSpPr>
          <p:cNvPr id="138" name="Text Placeholder 2">
            <a:extLst>
              <a:ext uri="{FF2B5EF4-FFF2-40B4-BE49-F238E27FC236}">
                <a16:creationId xmlns:a16="http://schemas.microsoft.com/office/drawing/2014/main" id="{933A29E5-E873-41B6-965C-97CD36405A53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9794875" y="4086225"/>
            <a:ext cx="1449388" cy="319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Listing application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GB" sz="900" noProof="0" dirty="0"/>
          </a:p>
        </p:txBody>
      </p:sp>
      <p:sp useBgFill="1">
        <p:nvSpPr>
          <p:cNvPr id="166" name="Text Placeholder 2">
            <a:extLst>
              <a:ext uri="{FF2B5EF4-FFF2-40B4-BE49-F238E27FC236}">
                <a16:creationId xmlns:a16="http://schemas.microsoft.com/office/drawing/2014/main" id="{0BEBFBB0-2911-4EA1-BDB5-BA571F88ADEA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7040563" y="5426075"/>
            <a:ext cx="1589088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Analyst presentation</a:t>
            </a:r>
            <a:endParaRPr lang="en-GB" sz="1200" noProof="0" dirty="0"/>
          </a:p>
        </p:txBody>
      </p:sp>
      <p:sp useBgFill="1">
        <p:nvSpPr>
          <p:cNvPr id="107" name="Text Placeholder 2">
            <a:extLst>
              <a:ext uri="{FF2B5EF4-FFF2-40B4-BE49-F238E27FC236}">
                <a16:creationId xmlns:a16="http://schemas.microsoft.com/office/drawing/2014/main" id="{45AA6825-108A-4EAB-AA7B-A6CBBC2BF5AA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8553450" y="3021013"/>
            <a:ext cx="1716088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Due diligence meeting</a:t>
            </a:r>
            <a:endParaRPr lang="en-GB" sz="1200" noProof="0" dirty="0"/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0C8EFD0F-F9B5-4FA6-9DC1-23776F55D98F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812800" y="5080000"/>
            <a:ext cx="1798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200" b="1" dirty="0"/>
              <a:t>Marketing documents</a:t>
            </a:r>
            <a:endParaRPr kumimoji="0" lang="en-GB" sz="1200" b="1" i="0" strike="noStrike" kern="1200" cap="none" spc="5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 useBgFill="1">
        <p:nvSpPr>
          <p:cNvPr id="198" name="Text Placeholder 2">
            <a:extLst>
              <a:ext uri="{FF2B5EF4-FFF2-40B4-BE49-F238E27FC236}">
                <a16:creationId xmlns:a16="http://schemas.microsoft.com/office/drawing/2014/main" id="{FD114EC4-F1E0-4FA5-AF7B-CD8B317EA7F7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9786938" y="5989638"/>
            <a:ext cx="355600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noProof="0" dirty="0"/>
              <a:t>PDIE</a:t>
            </a: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25907475-7E1C-4B17-87D1-F6BD6C751752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812800" y="4525963"/>
            <a:ext cx="1916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200" b="1" dirty="0">
                <a:solidFill>
                  <a:schemeClr val="accent3">
                    <a:lumMod val="50000"/>
                  </a:schemeClr>
                </a:solidFill>
              </a:rPr>
              <a:t>Transaction documents</a:t>
            </a:r>
            <a:endParaRPr kumimoji="0" lang="en-GB" sz="1200" b="1" i="0" strike="noStrike" kern="1200" cap="none" spc="5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</a:endParaRPr>
          </a:p>
        </p:txBody>
      </p:sp>
      <p:sp useBgFill="1">
        <p:nvSpPr>
          <p:cNvPr id="170" name="Text Placeholder 2">
            <a:extLst>
              <a:ext uri="{FF2B5EF4-FFF2-40B4-BE49-F238E27FC236}">
                <a16:creationId xmlns:a16="http://schemas.microsoft.com/office/drawing/2014/main" id="{5AD7195F-9DD9-4CA1-AF61-BB99D9848B5A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8899525" y="5256213"/>
            <a:ext cx="909638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noProof="0" dirty="0"/>
              <a:t>Pilot fishin</a:t>
            </a:r>
            <a:r>
              <a:rPr lang="en-GB" sz="1200" dirty="0"/>
              <a:t>g</a:t>
            </a:r>
            <a:endParaRPr lang="en-GB" sz="1200" noProof="0" dirty="0"/>
          </a:p>
        </p:txBody>
      </p:sp>
      <p:sp useBgFill="1">
        <p:nvSpPr>
          <p:cNvPr id="219" name="Text Placeholder 2">
            <a:extLst>
              <a:ext uri="{FF2B5EF4-FFF2-40B4-BE49-F238E27FC236}">
                <a16:creationId xmlns:a16="http://schemas.microsoft.com/office/drawing/2014/main" id="{E2ECC483-7335-4350-989C-CDBC14880AFC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10194925" y="1462088"/>
            <a:ext cx="1185863" cy="3651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First day of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trading (22 Oct</a:t>
            </a:r>
            <a:r>
              <a:rPr lang="en-GB" altLang="en-US" sz="900" dirty="0">
                <a:effectLst/>
              </a:rPr>
              <a:t>)</a:t>
            </a:r>
            <a:endParaRPr lang="en-GB" sz="900" noProof="0" dirty="0"/>
          </a:p>
        </p:txBody>
      </p:sp>
      <p:sp useBgFill="1">
        <p:nvSpPr>
          <p:cNvPr id="215" name="Text Placeholder 2">
            <a:extLst>
              <a:ext uri="{FF2B5EF4-FFF2-40B4-BE49-F238E27FC236}">
                <a16:creationId xmlns:a16="http://schemas.microsoft.com/office/drawing/2014/main" id="{8F039BE7-FCD2-4AC7-9B6D-6B976F9CBA06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10150475" y="6354763"/>
            <a:ext cx="525463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Pricing</a:t>
            </a:r>
            <a:endParaRPr lang="en-GB" sz="1200" noProof="0" dirty="0"/>
          </a:p>
        </p:txBody>
      </p:sp>
      <p:sp useBgFill="1">
        <p:nvSpPr>
          <p:cNvPr id="194" name="Text Placeholder 2">
            <a:extLst>
              <a:ext uri="{FF2B5EF4-FFF2-40B4-BE49-F238E27FC236}">
                <a16:creationId xmlns:a16="http://schemas.microsoft.com/office/drawing/2014/main" id="{E363A88B-7510-4A33-BEF0-BF808933235B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9485313" y="5807075"/>
            <a:ext cx="225425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ITF</a:t>
            </a:r>
            <a:endParaRPr lang="en-GB" sz="1200" noProof="0" dirty="0"/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8ACEA01B-154E-4912-8A4E-4FC0AD596679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812800" y="2293938"/>
            <a:ext cx="13716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Aft>
                <a:spcPts val="1800"/>
              </a:spcAft>
              <a:buNone/>
            </a:pPr>
            <a:r>
              <a:rPr lang="en-GB" sz="1200" b="1" dirty="0"/>
              <a:t>Financial history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7CD8762-D203-465B-95EF-7AF483AB51D6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812800" y="2659063"/>
            <a:ext cx="11049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200" b="1" i="0" u="none" strike="noStrike" kern="1200" cap="none" spc="5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ue diligence</a:t>
            </a:r>
            <a:endParaRPr kumimoji="0" lang="en-GB" sz="1200" b="1" i="0" u="none" strike="noStrike" kern="1200" cap="none" spc="5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510D109-CF1C-49DB-A1B6-12BFA983B400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812800" y="1743075"/>
            <a:ext cx="11239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200" b="1" dirty="0">
                <a:solidFill>
                  <a:schemeClr val="accent3">
                    <a:lumMod val="50000"/>
                  </a:schemeClr>
                </a:solidFill>
                <a:latin typeface="Open Sans"/>
              </a:rPr>
              <a:t>IPO readiness</a:t>
            </a:r>
          </a:p>
        </p:txBody>
      </p:sp>
      <p:sp useBgFill="1">
        <p:nvSpPr>
          <p:cNvPr id="204" name="Text Placeholder 2">
            <a:extLst>
              <a:ext uri="{FF2B5EF4-FFF2-40B4-BE49-F238E27FC236}">
                <a16:creationId xmlns:a16="http://schemas.microsoft.com/office/drawing/2014/main" id="{6363EE81-8EFE-4D36-9694-8EB789F732F0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7815263" y="6172200"/>
            <a:ext cx="1827213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noProof="0" dirty="0"/>
              <a:t>Bookbuilding/roadshow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B697B48-BF86-4829-BAD2-5442F6329197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812800" y="3209925"/>
            <a:ext cx="9032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200" b="1" i="0" u="none" strike="noStrike" kern="1200" cap="none" spc="5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rospectus</a:t>
            </a:r>
            <a:endParaRPr kumimoji="0" lang="en-GB" sz="1200" b="1" i="0" u="none" strike="noStrike" kern="1200" cap="none" spc="5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F86AB8A-886B-4B3E-B977-6D3A8435BE66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812800" y="1249363"/>
            <a:ext cx="633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54822D9-0A99-411F-9F29-8006FFD9D331}" type="datetime'''A''c''''''''''''''t''''''''i''v''''i''''''ty'''''">
              <a:rPr kumimoji="0" lang="en-GB" altLang="en-US" sz="1200" b="1" i="0" u="none" strike="noStrike" kern="1200" cap="none" spc="50" normalizeH="0" baseline="0" noProof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ctivity</a:t>
            </a:fld>
            <a:endParaRPr kumimoji="0" lang="en-GB" sz="1200" b="1" i="0" u="none" strike="noStrike" kern="1200" cap="none" spc="50" normalizeH="0" baseline="0" noProof="0" dirty="0">
              <a:ln>
                <a:noFill/>
              </a:ln>
              <a:solidFill>
                <a:srgbClr val="0D40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E9E68329-C12C-40BD-8851-4161FB55738E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812800" y="4894263"/>
            <a:ext cx="15128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en-GB" sz="1200" b="1" i="0" strike="noStrike" kern="1200" cap="none" spc="5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</a:rPr>
              <a:t>Marketing </a:t>
            </a:r>
            <a:r>
              <a:rPr lang="en-GB" sz="1200" b="1" dirty="0">
                <a:solidFill>
                  <a:schemeClr val="accent3">
                    <a:lumMod val="50000"/>
                  </a:schemeClr>
                </a:solidFill>
              </a:rPr>
              <a:t>process</a:t>
            </a:r>
            <a:endParaRPr kumimoji="0" lang="en-GB" sz="1200" b="1" i="0" strike="noStrike" kern="1200" cap="none" spc="5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6FD4DD96-9C6A-47F8-A9AD-6504F1868F3F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812800" y="2111375"/>
            <a:ext cx="13160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altLang="en-US" sz="1200" b="1" dirty="0"/>
              <a:t>VPS registration</a:t>
            </a:r>
            <a:endParaRPr lang="en-GB" sz="1200" b="1" dirty="0"/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0225F9EE-7636-4F78-A604-7647C83B967E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812800" y="1928813"/>
            <a:ext cx="1795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altLang="en-US" sz="1200" b="1" dirty="0"/>
              <a:t>Corporate resolutions</a:t>
            </a:r>
            <a:endParaRPr lang="en-GB" sz="1200" b="1" dirty="0"/>
          </a:p>
        </p:txBody>
      </p:sp>
      <p:sp useBgFill="1">
        <p:nvSpPr>
          <p:cNvPr id="130" name="Text Placeholder 2">
            <a:extLst>
              <a:ext uri="{FF2B5EF4-FFF2-40B4-BE49-F238E27FC236}">
                <a16:creationId xmlns:a16="http://schemas.microsoft.com/office/drawing/2014/main" id="{E1DC8C89-F537-4A8C-8E41-93D5C3038D60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7399338" y="4154488"/>
            <a:ext cx="949325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Intro report </a:t>
            </a:r>
          </a:p>
        </p:txBody>
      </p:sp>
      <p:sp useBgFill="1">
        <p:nvSpPr>
          <p:cNvPr id="120" name="Text Placeholder 2">
            <a:extLst>
              <a:ext uri="{FF2B5EF4-FFF2-40B4-BE49-F238E27FC236}">
                <a16:creationId xmlns:a16="http://schemas.microsoft.com/office/drawing/2014/main" id="{D661D8EE-984D-4A44-BD08-AF6C2FC84D8C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9794875" y="3571875"/>
            <a:ext cx="1566863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</a:rPr>
              <a:t>Prospectus approval</a:t>
            </a:r>
            <a:endParaRPr lang="en-GB" sz="1200" noProof="0" dirty="0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73E9E4C7-A8F9-4816-889E-D47376D96F3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2EA5529-B25A-44B4-B66E-BA365ED4BFF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PWC and Thommessen 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5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1962893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72255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9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 hidden="1"/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32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32" name="Subtitle 31">
            <a:extLst>
              <a:ext uri="{FF2B5EF4-FFF2-40B4-BE49-F238E27FC236}">
                <a16:creationId xmlns:a16="http://schemas.microsoft.com/office/drawing/2014/main" id="{E08A267E-12A1-4A72-8D7B-83CE1A606F0B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IPO Process and Timelin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solidFill>
                  <a:schemeClr val="tx1"/>
                </a:solidFill>
              </a:rPr>
              <a:t>What characterises a good process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nb-NO" dirty="0"/>
          </a:p>
        </p:txBody>
      </p:sp>
      <p:sp>
        <p:nvSpPr>
          <p:cNvPr id="9" name="Flowchart: Connector 8"/>
          <p:cNvSpPr/>
          <p:nvPr/>
        </p:nvSpPr>
        <p:spPr>
          <a:xfrm>
            <a:off x="766800" y="3008408"/>
            <a:ext cx="2355105" cy="2390408"/>
          </a:xfrm>
          <a:prstGeom prst="flowChartConnector">
            <a:avLst/>
          </a:prstGeom>
          <a:solidFill>
            <a:schemeClr val="tx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nb-NO" sz="2000" spc="50" dirty="0">
                <a:solidFill>
                  <a:schemeClr val="bg2"/>
                </a:solidFill>
                <a:latin typeface="+mj-lt"/>
              </a:rPr>
              <a:t>Project management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D24AB8A-B2BF-42F3-8292-7A49D1381120}"/>
              </a:ext>
            </a:extLst>
          </p:cNvPr>
          <p:cNvGrpSpPr/>
          <p:nvPr/>
        </p:nvGrpSpPr>
        <p:grpSpPr>
          <a:xfrm>
            <a:off x="3418540" y="4651458"/>
            <a:ext cx="7522027" cy="824348"/>
            <a:chOff x="3903172" y="4641378"/>
            <a:chExt cx="7522027" cy="824348"/>
          </a:xfrm>
        </p:grpSpPr>
        <p:sp>
          <p:nvSpPr>
            <p:cNvPr id="13" name="Subtitle 2"/>
            <p:cNvSpPr txBox="1">
              <a:spLocks noChangeAspect="1"/>
            </p:cNvSpPr>
            <p:nvPr/>
          </p:nvSpPr>
          <p:spPr>
            <a:xfrm>
              <a:off x="3903172" y="4641378"/>
              <a:ext cx="824349" cy="824348"/>
            </a:xfrm>
            <a:prstGeom prst="ellipse">
              <a:avLst/>
            </a:prstGeom>
            <a:solidFill>
              <a:schemeClr val="tx2"/>
            </a:solidFill>
            <a:ln w="57150">
              <a:noFill/>
            </a:ln>
          </p:spPr>
          <p:txBody>
            <a:bodyPr lIns="36000" tIns="36000" rIns="36000" bIns="36000" anchor="ctr" anchorCtr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kern="1200" cap="all" baseline="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b-NO" sz="1400" cap="none" spc="5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4847262" y="4909635"/>
              <a:ext cx="6577937" cy="3658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GB" sz="1400" b="1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Ability to tackle challenges and identify pot holes early</a:t>
              </a:r>
            </a:p>
            <a:p>
              <a:pPr>
                <a:lnSpc>
                  <a:spcPct val="90000"/>
                </a:lnSpc>
              </a:pPr>
              <a:r>
                <a:rPr lang="en-GB" sz="1400" spc="50" dirty="0">
                  <a:solidFill>
                    <a:srgbClr val="0D4065"/>
                  </a:solidFill>
                </a:rPr>
                <a:t>Challenges will arise and the unexpected will happen</a:t>
              </a:r>
              <a:endParaRPr lang="en-GB" sz="1400" spc="5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DC87227-F6EE-4658-B7E9-EAC1D7A5F48D}"/>
              </a:ext>
            </a:extLst>
          </p:cNvPr>
          <p:cNvGrpSpPr/>
          <p:nvPr/>
        </p:nvGrpSpPr>
        <p:grpSpPr>
          <a:xfrm>
            <a:off x="2657776" y="2101639"/>
            <a:ext cx="8282792" cy="824348"/>
            <a:chOff x="3142408" y="2091559"/>
            <a:chExt cx="8282792" cy="824348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AB6FE9E0-471D-474F-BDDA-52B7D3C53106}"/>
                </a:ext>
              </a:extLst>
            </p:cNvPr>
            <p:cNvSpPr txBox="1"/>
            <p:nvPr/>
          </p:nvSpPr>
          <p:spPr>
            <a:xfrm>
              <a:off x="4117356" y="2320817"/>
              <a:ext cx="7307844" cy="3658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GB" sz="1400" b="1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Planning, planning, planning</a:t>
              </a:r>
              <a:endParaRPr lang="en-GB" sz="1400" spc="50" dirty="0">
                <a:solidFill>
                  <a:srgbClr val="0D4065"/>
                </a:solidFill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  <a:p>
              <a:pPr>
                <a:lnSpc>
                  <a:spcPct val="90000"/>
                </a:lnSpc>
              </a:pPr>
              <a:r>
                <a:rPr lang="en-GB" sz="1400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Identify key preparation areas early, front-load work to the extent possible</a:t>
              </a:r>
            </a:p>
          </p:txBody>
        </p:sp>
        <p:sp>
          <p:nvSpPr>
            <p:cNvPr id="24" name="Subtitle 2"/>
            <p:cNvSpPr txBox="1">
              <a:spLocks noChangeAspect="1"/>
            </p:cNvSpPr>
            <p:nvPr/>
          </p:nvSpPr>
          <p:spPr>
            <a:xfrm>
              <a:off x="3142408" y="2091559"/>
              <a:ext cx="824349" cy="824348"/>
            </a:xfrm>
            <a:prstGeom prst="ellipse">
              <a:avLst/>
            </a:prstGeom>
            <a:solidFill>
              <a:schemeClr val="tx2"/>
            </a:solidFill>
            <a:ln w="57150">
              <a:noFill/>
            </a:ln>
          </p:spPr>
          <p:txBody>
            <a:bodyPr lIns="36000" tIns="36000" rIns="36000" bIns="36000" anchor="ctr" anchorCtr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kern="1200" cap="all" baseline="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400" cap="none" spc="5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7A6745F2-4442-4AC0-9311-E2F2DEA68165}"/>
              </a:ext>
            </a:extLst>
          </p:cNvPr>
          <p:cNvGrpSpPr/>
          <p:nvPr/>
        </p:nvGrpSpPr>
        <p:grpSpPr>
          <a:xfrm>
            <a:off x="2647202" y="5462603"/>
            <a:ext cx="8283437" cy="824348"/>
            <a:chOff x="3142408" y="5491317"/>
            <a:chExt cx="8283437" cy="824348"/>
          </a:xfrm>
        </p:grpSpPr>
        <p:sp>
          <p:nvSpPr>
            <p:cNvPr id="10" name="Subtitle 2"/>
            <p:cNvSpPr txBox="1">
              <a:spLocks noChangeAspect="1"/>
            </p:cNvSpPr>
            <p:nvPr/>
          </p:nvSpPr>
          <p:spPr>
            <a:xfrm>
              <a:off x="3142408" y="5491317"/>
              <a:ext cx="824349" cy="824348"/>
            </a:xfrm>
            <a:prstGeom prst="ellipse">
              <a:avLst/>
            </a:prstGeom>
            <a:solidFill>
              <a:schemeClr val="tx2"/>
            </a:solidFill>
            <a:ln w="57150">
              <a:noFill/>
            </a:ln>
          </p:spPr>
          <p:txBody>
            <a:bodyPr lIns="36000" tIns="36000" rIns="36000" bIns="36000" anchor="ctr" anchorCtr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kern="1200" cap="all" baseline="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400" cap="none" spc="5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A09DE0FE-3EB0-42C4-B0EB-ED4FA0874096}"/>
                </a:ext>
              </a:extLst>
            </p:cNvPr>
            <p:cNvSpPr txBox="1"/>
            <p:nvPr/>
          </p:nvSpPr>
          <p:spPr>
            <a:xfrm>
              <a:off x="4127930" y="5866718"/>
              <a:ext cx="7297915" cy="3658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GB" sz="1400" b="1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Open dialogue and information sharing</a:t>
              </a:r>
              <a:endParaRPr lang="en-GB" sz="1400" spc="50" dirty="0"/>
            </a:p>
            <a:p>
              <a:pPr>
                <a:lnSpc>
                  <a:spcPct val="90000"/>
                </a:lnSpc>
              </a:pPr>
              <a:endParaRPr lang="en-GB" sz="1400" spc="50" dirty="0"/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3CA94BB-96E0-4E07-8C0D-790313F34442}"/>
              </a:ext>
            </a:extLst>
          </p:cNvPr>
          <p:cNvGrpSpPr/>
          <p:nvPr/>
        </p:nvGrpSpPr>
        <p:grpSpPr>
          <a:xfrm>
            <a:off x="4021903" y="3801518"/>
            <a:ext cx="8048177" cy="844906"/>
            <a:chOff x="4506535" y="3791438"/>
            <a:chExt cx="8048177" cy="844906"/>
          </a:xfrm>
        </p:grpSpPr>
        <p:sp>
          <p:nvSpPr>
            <p:cNvPr id="16" name="Subtitle 2"/>
            <p:cNvSpPr txBox="1">
              <a:spLocks noChangeAspect="1"/>
            </p:cNvSpPr>
            <p:nvPr/>
          </p:nvSpPr>
          <p:spPr>
            <a:xfrm>
              <a:off x="4506535" y="3791438"/>
              <a:ext cx="824349" cy="824348"/>
            </a:xfrm>
            <a:prstGeom prst="ellipse">
              <a:avLst/>
            </a:prstGeom>
            <a:solidFill>
              <a:schemeClr val="tx2"/>
            </a:solidFill>
            <a:ln w="57150">
              <a:noFill/>
            </a:ln>
          </p:spPr>
          <p:txBody>
            <a:bodyPr lIns="36000" tIns="36000" rIns="36000" bIns="36000" anchor="ctr" anchorCtr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kern="1200" cap="all" baseline="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400" cap="none" spc="5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189C2E2A-8165-4AE2-900F-CCE341423CA7}"/>
                </a:ext>
              </a:extLst>
            </p:cNvPr>
            <p:cNvSpPr txBox="1"/>
            <p:nvPr/>
          </p:nvSpPr>
          <p:spPr>
            <a:xfrm>
              <a:off x="5456646" y="4041254"/>
              <a:ext cx="7098066" cy="59509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GB" sz="1400" b="1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Experienced advisers who know each other - and have done this before </a:t>
              </a:r>
            </a:p>
            <a:p>
              <a:pPr>
                <a:lnSpc>
                  <a:spcPct val="90000"/>
                </a:lnSpc>
              </a:pPr>
              <a:r>
                <a:rPr lang="en-GB" sz="1400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Good cooperation, clear communication and clear allocation of responsibilities</a:t>
              </a:r>
              <a:endParaRPr lang="en-GB" sz="1400" spc="5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7999E60-15E4-4422-8619-00B0A51B45D2}"/>
              </a:ext>
            </a:extLst>
          </p:cNvPr>
          <p:cNvGrpSpPr/>
          <p:nvPr/>
        </p:nvGrpSpPr>
        <p:grpSpPr>
          <a:xfrm>
            <a:off x="3418540" y="2951579"/>
            <a:ext cx="7522028" cy="824348"/>
            <a:chOff x="3903172" y="2941499"/>
            <a:chExt cx="7522028" cy="824348"/>
          </a:xfrm>
        </p:grpSpPr>
        <p:sp>
          <p:nvSpPr>
            <p:cNvPr id="21" name="Subtitle 2"/>
            <p:cNvSpPr txBox="1">
              <a:spLocks noChangeAspect="1"/>
            </p:cNvSpPr>
            <p:nvPr/>
          </p:nvSpPr>
          <p:spPr>
            <a:xfrm>
              <a:off x="3903172" y="2941499"/>
              <a:ext cx="824349" cy="824348"/>
            </a:xfrm>
            <a:prstGeom prst="ellipse">
              <a:avLst/>
            </a:prstGeom>
            <a:solidFill>
              <a:schemeClr val="tx2"/>
            </a:solidFill>
            <a:ln w="57150">
              <a:noFill/>
            </a:ln>
          </p:spPr>
          <p:txBody>
            <a:bodyPr lIns="36000" tIns="36000" rIns="36000" bIns="36000" anchor="ctr" anchorCtr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kern="1200" cap="all" baseline="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400" cap="none" spc="5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A8BA85B4-F1E4-4588-B8A7-074A6FA84CC1}"/>
                </a:ext>
              </a:extLst>
            </p:cNvPr>
            <p:cNvSpPr txBox="1"/>
            <p:nvPr/>
          </p:nvSpPr>
          <p:spPr>
            <a:xfrm>
              <a:off x="4847263" y="3088527"/>
              <a:ext cx="6577937" cy="3658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GB" sz="1400" b="1" spc="50" dirty="0" err="1">
                  <a:ea typeface="Open Sans SemiBold" panose="020B0706030804020204" pitchFamily="34" charset="0"/>
                  <a:cs typeface="Open Sans SemiBold" panose="020B0706030804020204" pitchFamily="34" charset="0"/>
                </a:rPr>
                <a:t>ListCo</a:t>
              </a:r>
              <a:endParaRPr lang="en-GB" sz="1400" b="1" spc="50" dirty="0"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  <a:p>
              <a:pPr>
                <a:lnSpc>
                  <a:spcPct val="90000"/>
                </a:lnSpc>
              </a:pPr>
              <a:r>
                <a:rPr lang="en-GB" sz="1400" spc="50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Sufficient resources, clear allocation of responsibility, ownership to workstreams</a:t>
              </a:r>
            </a:p>
            <a:p>
              <a:pPr>
                <a:lnSpc>
                  <a:spcPct val="90000"/>
                </a:lnSpc>
              </a:pPr>
              <a:endParaRPr lang="en-GB" sz="1400" spc="50" dirty="0"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</p:grp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83B719-F3EF-4E6F-A5D4-D53D22406E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77E9EC-2FA4-4C20-A32A-628D1132DEC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PWC and Thommessen 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6</a:t>
            </a:fld>
            <a:endParaRPr lang="nb-NO" noProof="1"/>
          </a:p>
        </p:txBody>
      </p:sp>
      <p:pic>
        <p:nvPicPr>
          <p:cNvPr id="12" name="Graphic 11" descr="Clipboard Partially Checked outline">
            <a:extLst>
              <a:ext uri="{FF2B5EF4-FFF2-40B4-BE49-F238E27FC236}">
                <a16:creationId xmlns:a16="http://schemas.microsoft.com/office/drawing/2014/main" id="{99D9AEB9-0022-4E5D-8125-E3FC8E292C0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761831" y="2226228"/>
            <a:ext cx="595090" cy="595090"/>
          </a:xfrm>
          <a:prstGeom prst="rect">
            <a:avLst/>
          </a:prstGeom>
        </p:spPr>
      </p:pic>
      <p:pic>
        <p:nvPicPr>
          <p:cNvPr id="17" name="Graphic 16" descr="Hierarchy outline">
            <a:extLst>
              <a:ext uri="{FF2B5EF4-FFF2-40B4-BE49-F238E27FC236}">
                <a16:creationId xmlns:a16="http://schemas.microsoft.com/office/drawing/2014/main" id="{7E7BEFC4-6B05-480E-AA19-B555168DF89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531378" y="3021747"/>
            <a:ext cx="598672" cy="598672"/>
          </a:xfrm>
          <a:prstGeom prst="rect">
            <a:avLst/>
          </a:prstGeom>
        </p:spPr>
      </p:pic>
      <p:pic>
        <p:nvPicPr>
          <p:cNvPr id="19" name="Graphic 18" descr="Female Profile outline">
            <a:extLst>
              <a:ext uri="{FF2B5EF4-FFF2-40B4-BE49-F238E27FC236}">
                <a16:creationId xmlns:a16="http://schemas.microsoft.com/office/drawing/2014/main" id="{114F84A0-62A3-4121-8B59-C893B2D4CBC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136532" y="3921713"/>
            <a:ext cx="595090" cy="595090"/>
          </a:xfrm>
          <a:prstGeom prst="rect">
            <a:avLst/>
          </a:prstGeom>
        </p:spPr>
      </p:pic>
      <p:pic>
        <p:nvPicPr>
          <p:cNvPr id="22" name="Graphic 21" descr="Eye outline">
            <a:extLst>
              <a:ext uri="{FF2B5EF4-FFF2-40B4-BE49-F238E27FC236}">
                <a16:creationId xmlns:a16="http://schemas.microsoft.com/office/drawing/2014/main" id="{31C90B7A-8F6F-40DF-95A1-7B9DBAA7589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531378" y="4773910"/>
            <a:ext cx="579443" cy="579443"/>
          </a:xfrm>
          <a:prstGeom prst="rect">
            <a:avLst/>
          </a:prstGeom>
        </p:spPr>
      </p:pic>
      <p:pic>
        <p:nvPicPr>
          <p:cNvPr id="25" name="Graphic 24" descr="Chat outline">
            <a:extLst>
              <a:ext uri="{FF2B5EF4-FFF2-40B4-BE49-F238E27FC236}">
                <a16:creationId xmlns:a16="http://schemas.microsoft.com/office/drawing/2014/main" id="{07D940F6-2B18-4BA8-B5CA-847453CB270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740869" y="5614668"/>
            <a:ext cx="637013" cy="637013"/>
          </a:xfrm>
          <a:prstGeom prst="rect">
            <a:avLst/>
          </a:prstGeom>
        </p:spPr>
      </p:pic>
    </p:spTree>
    <p:custDataLst>
      <p:custData r:id="rId2"/>
      <p:custData r:id="rId3"/>
    </p:custDataLst>
    <p:extLst>
      <p:ext uri="{BB962C8B-B14F-4D97-AF65-F5344CB8AC3E}">
        <p14:creationId xmlns:p14="http://schemas.microsoft.com/office/powerpoint/2010/main" val="8027303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AA13494-2476-4F05-94BE-D66F4FD057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1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AA13494-2476-4F05-94BE-D66F4FD057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C4F4EC7-CD33-4CC2-9FDD-29D87E1961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05/04/2022</a:t>
            </a:r>
            <a:endParaRPr lang="en-GB" dirty="0"/>
          </a:p>
        </p:txBody>
      </p:sp>
      <p:pic>
        <p:nvPicPr>
          <p:cNvPr id="16" name="Graphic 15" descr="Questions with solid fill">
            <a:extLst>
              <a:ext uri="{FF2B5EF4-FFF2-40B4-BE49-F238E27FC236}">
                <a16:creationId xmlns:a16="http://schemas.microsoft.com/office/drawing/2014/main" id="{B694638A-1E76-4C59-A1AE-12A0963B72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998690" y="1271365"/>
            <a:ext cx="3972370" cy="397237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D885A9-3243-41E2-BC43-F802087AFF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po process and timeline</a:t>
            </a:r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1BA837-E3A3-45ED-984D-683E36E09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7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4073768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1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zvat5xKtDAHpINMxAFj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nnWE_GeciqCCaiFfuCl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haiJMqclmkZjM8dkSdp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CKcWq8A5nVEKZQ4l9CO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OkuU0aJCsA5WRmuUEP9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5oVJmAe4445o.HJNiZM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10x9Ln6Zy8D12IPctCm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SU6VuCSttzBrF9PeJh.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cjQoRD4CGDl7FdzljoF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tK.HEV36TN7SuwIr_YM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ZwXnsLy78.SOP4_ark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RfLtTAtN6tFKS5FTOhk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Q._km1Mxj9wEMwWFhOV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EJFBEaqbNX5G_MShG.H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g_BBVdu1yv3TDH47Lc1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kR1P8ntw6hlm40hoBBE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pSaYG0NQiy5TpmrH3ne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.jiqF.taLMYr79Fjee1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U5_6lHhqmQUkP0WI_M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0wNLzt0IhVkhL4Pd0dd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IiKAIH2RAUyd90lyQL_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.b0m.I4cZc109Vlb_L6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8D8ORxETU9yC2PXQ3_U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Q2arnFt33iZnZb6wg2u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r0kNdlfV6LCqUuyVYxe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vR4JW5ItAwiNtp7cJss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URlm5MRLrlAEz2qMe1L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rIe6w_DDnMweaNDx_C3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k6tT2N8W.TrVoyRYxRm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.YZ_Vn51OTLB4tIDHVp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hx.lr4xJfWxtVedwQsC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BIjVRfGnub1dimnZyyt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8_B4psmX1e5WFdf9Ri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ds0JOL9ydH19JYa.b4j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CRVuDwQwZKfzYjzT0dt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uVO2Iho5y2_2DL.dAG0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f6c6Q6uTJkg5GxVJWWT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CODzp3lLGK0YSbDaWLa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4T3j5XOGaWAgldSaw.s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8FYAQ7aQDDbatSY1w1d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ovU3gUk_6T36XSIkp6X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ZMy05nLRSIhYAXd3Vl4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rr9vQcq38B2JhzVdp.J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WDAHQBhKWd_6pQYPL1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5QjD5o406SzsU.TxNNO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.20qvm0GUeuk5q6yAkw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z22WLBdFg2JhqEa9evL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UJPP8SbtpZuj9N2B4N0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zATmm4hrk1NTS4K2iuC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kZ9i7JqCkv.AN4RgIEV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hT9us1Q8ysC2dv3WIbx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41FT896uBeMkubEwtuB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xx_k8IZqrZrZsT91EBP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ehhbWbvJZYirlPB8vfK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3W1gUDjo9WuV8EtluQ1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BkXV7E7JBMjRA02H9EC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fzI_VRvAhx4rwd4Qo.H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.oj3z0SZ9wvOlvBmrZt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MYsTEgLB35A1LNZHVui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CjmsnYZRjFVi0vMXH5S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3_p5UwnFGB3qIu3ZCyZ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LZbEF6IZcv.eP1drxEG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2BIvEGZponBL3FIR4v.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zvat5xKtDAHpINMxAFj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RfLtTAtN6tFKS5FTOhk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N7rQMPOZl1yW5Ggpc.F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8D8ORxETU9yC2PXQ3_U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ds0JOL9ydH19JYa.b4j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5QjD5o406SzsU.TxNNO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BkXV7E7JBMjRA02H9EC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N7rQMPOZl1yW5Ggpc.F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FyNCB7XRsw7YAEsF1Bb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OAkVIY0iWu33wGuoWk4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i.0R4JaY3YDqX30XaJN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Nh82nxFqsFV8tidSFFM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FejALM9kFk0BNH5_ldt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FyNCB7XRsw7YAEsF1Bb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0UTA9zYTA6j1zpXhK3E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qSSnjVScQW1kdar.Sv7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s9ra.R9GU_EVRT3Apit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nnWE_GeciqCCaiFfuCl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KOg8lv8PKuqMRRfmfwd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8BVC5TukZTc2Jccq2YT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xfUAlmf3XAdd7QNOay.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ujJk8yHkRUmNRxuzCO1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jYhuMGUturTOK3BhUWd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4htVFqOHX14Y3aHlPA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OAkVIY0iWu33wGuoWk4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ABw3mf6k6GX24z5VRBd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tK.HEV36TN7SuwIr_YM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ZwXnsLy78.SOP4_arks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iQdcplc_D9Tts2l04v.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yrM0yjQVFIuuCUpYEBi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6NNFsYwcZf356qcYhr_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NMFbSeFsNTDN95z8jNw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2gaWLgZXvIJhUkm5v8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8Cw0YxvfX2qCeUH.UOp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kPgTt4G_WIk2HYqQQxR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i.0R4JaY3YDqX30XaJN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50KgFdjDv6xqUBspSuz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I7WuZ9U4DQ.RyDUOyJ0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Nl0us4kjHqzz3LXoZR_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Yzhmk8kQLiDfcS70LIC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Lle.I2Px4NwRS1UTBlV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NzzfgxaoQyCooBCJWMK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Udoa_RN5cLWOUomKccI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oUdH4I_pXdA_4yDvBsU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w5uvs6vVliDUd.F0tdY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V3_W34LirkW1I7z5jB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Nh82nxFqsFV8tidSFFM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YE2eSPISe_kJ8Agy._4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HMyZ484UBVhSdJRCk5Q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tcLOIqCCq.KafhHlrLX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sYic2Qr5oEvKNfvsRJ0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eaDjS4D3YYTCPcOJ5tq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1j90tWfP6efTbZfHooN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fzI_VRvAhx4rwd4Qo.H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zATmm4hrk1NTS4K2iuC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gAFSHOrqPJLpcE8OjFw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dFYOYXcERrwezvyo.u0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FejALM9kFk0BNH5_ldt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lJc8FIfsK9_kY9Dja6y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PkH8.AZ1DUsoX7u1zSI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MVHKFtyy60jmByhFjT8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qnCUFMYJ.6EeDwLtz.C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anLGMoLsKEe.hsP7Ef2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pMWU7IcZWpxrfm3kfr8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b8YLlcPtsLvDPjuPgHP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C6g3a3gc5FTxMNhulaX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hTwfOt8uteoMH5A6gcY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1oOOkyHS93fpnY7YFle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0UTA9zYTA6j1zpXhK3E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.5f8bQ65EMnW3SFYLkR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zSRYlj8vhkF.RMQ7aKU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3m8iteCRJEohifUUoxn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MYsTEgLB35A1LNZHVui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rr9vQcq38B2JhzVdp.J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kbTSYOLllg4W2fVHonV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zyFPDmG.xoLQUm5wjLk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xx_k8IZqrZrZsT91EBP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15AeN6qd_5Q_niq1vZ1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swpn31WzCTzm0ONbDIQ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qSSnjVScQW1kdar.Sv7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YX2TS1NUXM1AfhpnY._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6pfulEM8FWgyysoBja2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6YLqpWbykAFjeQaiWrs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obgddfTjyNQX0mbNqhTw"/>
  <p:tag name="TEMPLAFYSLIDEID" val="636892878300469540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s9ra.R9GU_EVRT3Apit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nnWE_GeciqCCaiFfuC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KOg8lv8PKuqMRRfmfwd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8BVC5TukZTc2Jccq2Y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xfUAlmf3XAdd7QNOay.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ujJk8yHkRUmNRxuzCO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jYhuMGUturTOK3BhUWd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4htVFqOHX14Y3aHlPAY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ABw3mf6k6GX24z5VRBd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tK.HEV36TN7SuwIr_YM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ZwXnsLy78.SOP4_ark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iQdcplc_D9Tts2l04v.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yrM0yjQVFIuuCUpYEBi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6NNFsYwcZf356qcYhr_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NMFbSeFsNTDN95z8jNw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2gaWLgZXvIJhUkm5v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KRTU\AppData\Local\Temp\Templafy\PowerPointVsto\Assets\69b8ddae-95ff-47bd-8667-7312b687b443.jpe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8Cw0YxvfX2qCeUH.UOp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kPgTt4G_WIk2HYqQQxR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50KgFdjDv6xqUBspSuz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I7WuZ9U4DQ.RyDUOyJ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Nl0us4kjHqzz3LXoZR_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Yzhmk8kQLiDfcS70LIC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Lle.I2Px4NwRS1UTBlV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NzzfgxaoQyCooBCJWMK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Udoa_RN5cLWOUomKccI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oUdH4I_pXdA_4yDvBs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w5uvs6vVliDUd.F0tdY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V3_W34LirkW1I7z5jBT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YE2eSPISe_kJ8Agy._4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HMyZ484UBVhSdJRCk5Q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tcLOIqCCq.KafhHlrLX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sYic2Qr5oEvKNfvsRJ0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eaDjS4D3YYTCPcOJ5tq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1j90tWfP6efTbZfHooN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fzI_VRvAhx4rwd4Qo.H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zATmm4hrk1NTS4K2iu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obgddfTjyNQX0mbNqhTw"/>
  <p:tag name="TEMPLAFYSLIDEID" val="63689287830046954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gAFSHOrqPJLpcE8OjF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dFYOYXcERrwezvyo.u0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lJc8FIfsK9_kY9Dja6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PkH8.AZ1DUsoX7u1zSI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MVHKFtyy60jmByhFjT8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qnCUFMYJ.6EeDwLtz.C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anLGMoLsKEe.hsP7Ef2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pMWU7IcZWpxrfm3kfr8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b8YLlcPtsLvDPjuPgHP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C6g3a3gc5FTxMNhula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hTwfOt8uteoMH5A6gcY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1oOOkyHS93fpnY7YFle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.5f8bQ65EMnW3SFYLkR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zSRYlj8vhkF.RMQ7aKU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3m8iteCRJEohifUUoxn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MYsTEgLB35A1LNZHVui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rr9vQcq38B2JhzVdp.J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kbTSYOLllg4W2fVHonV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zyFPDmG.xoLQUm5wjL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xx_k8IZqrZrZsT91EB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LZbEF6IZcv.eP1drxEG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15AeN6qd_5Q_niq1vZ1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swpn31WzCTzm0ONbDIQ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YX2TS1NUXM1AfhpnY._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6pfulEM8FWgyysoBja2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6YLqpWbykAFjeQaiWrs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XbAJ3_WyaXPJlk7vBhZ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O32mTKLi9ZJMqs9oYa.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2JW.Jh9f6zKS4xh_aAi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Wc_qCHwRcKluTuudOT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2BIvEGZponBL3FIR4v.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J8tincLC7bmfySNfP.r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EOVcu1qGC5qSsFck1hd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T.bXzxutjdlkZgrTrfA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BkXV7E7JBMjRA02H9EC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i.0R4JaY3YDqX30XaJN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Nh82nxFqsFV8tidSFFM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FejALM9kFk0BNH5_ldt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06kViEQcZJR46HrfDBa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qSSnjVScQW1kdar.Sv7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s9ra.R9GU_EVRT3ApitA"/>
</p:tagLst>
</file>

<file path=ppt/theme/theme1.xml><?xml version="1.0" encoding="utf-8"?>
<a:theme xmlns:a="http://schemas.openxmlformats.org/drawingml/2006/main" name="THOMMESSEN">
  <a:themeElements>
    <a:clrScheme name="Thommessen">
      <a:dk1>
        <a:srgbClr val="0D4065"/>
      </a:dk1>
      <a:lt1>
        <a:srgbClr val="FFFFFF"/>
      </a:lt1>
      <a:dk2>
        <a:srgbClr val="DAE9F8"/>
      </a:dk2>
      <a:lt2>
        <a:srgbClr val="F9F8F7"/>
      </a:lt2>
      <a:accent1>
        <a:srgbClr val="0D4065"/>
      </a:accent1>
      <a:accent2>
        <a:srgbClr val="81AECF"/>
      </a:accent2>
      <a:accent3>
        <a:srgbClr val="D2C7B8"/>
      </a:accent3>
      <a:accent4>
        <a:srgbClr val="EDE7DE"/>
      </a:accent4>
      <a:accent5>
        <a:srgbClr val="1F4533"/>
      </a:accent5>
      <a:accent6>
        <a:srgbClr val="CDE1D0"/>
      </a:accent6>
      <a:hlink>
        <a:srgbClr val="0563C1"/>
      </a:hlink>
      <a:folHlink>
        <a:srgbClr val="954F72"/>
      </a:folHlink>
    </a:clrScheme>
    <a:fontScheme name="Thommessen">
      <a:majorFont>
        <a:latin typeface="Roboto Slab Ligh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6350"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spcAft>
            <a:spcPts val="600"/>
          </a:spcAft>
          <a:defRPr sz="16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600"/>
          </a:spcAft>
          <a:defRPr sz="1600" dirty="0" err="1" smtClean="0">
            <a:solidFill>
              <a:srgbClr val="0D4065"/>
            </a:solidFill>
          </a:defRPr>
        </a:defPPr>
      </a:lstStyle>
    </a:txDef>
  </a:objectDefaults>
  <a:extraClrSchemeLst/>
  <a:custClrLst>
    <a:custClr name="Thommessen blå">
      <a:srgbClr val="0D4065"/>
    </a:custClr>
    <a:custClr name="Himmelblå">
      <a:srgbClr val="81AECF"/>
    </a:custClr>
    <a:custClr name="Isblå">
      <a:srgbClr val="DAE9F8"/>
    </a:custClr>
    <a:custClr name="Snø">
      <a:srgbClr val="F0F7FC"/>
    </a:custClr>
    <a:custClr name="Lys Sand">
      <a:srgbClr val="F9F8F7"/>
    </a:custClr>
    <a:custClr name="Sand">
      <a:srgbClr val="EDE7DE"/>
    </a:custClr>
    <a:custClr name="Lin">
      <a:srgbClr val="D2C7B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kogsgrønn">
      <a:srgbClr val="1F4533"/>
    </a:custClr>
    <a:custClr name="Vintergrønn">
      <a:srgbClr val="CDE1D0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ips">
      <a:srgbClr val="E45050"/>
    </a:custClr>
    <a:custClr name="Skumring">
      <a:srgbClr val="F8906F"/>
    </a:custClr>
    <a:custClr name="Korngul">
      <a:srgbClr val="E6C586"/>
    </a:custClr>
    <a:custClr name="Plomme">
      <a:srgbClr val="604682"/>
    </a:custClr>
    <a:custClr name="Mose">
      <a:srgbClr val="54805B"/>
    </a:custClr>
    <a:custClr name="Jord">
      <a:srgbClr val="624D44"/>
    </a:custClr>
  </a:custClrLst>
  <a:extLst>
    <a:ext uri="{05A4C25C-085E-4340-85A3-A5531E510DB2}">
      <thm15:themeFamily xmlns:thm15="http://schemas.microsoft.com/office/thememl/2012/main" name="BaseTemplate 16-9 UK.potx" id="{F6A595D2-5111-4944-A360-F0492E356A40}" vid="{A41D93BC-BD5A-44B7-87CB-7DEDE13B29DB}"/>
    </a:ext>
  </a:extLst>
</a:theme>
</file>

<file path=ppt/theme/theme2.xml><?xml version="1.0" encoding="utf-8"?>
<a:theme xmlns:a="http://schemas.openxmlformats.org/drawingml/2006/main" name="Office-tema">
  <a:themeElements>
    <a:clrScheme name="Thommessen">
      <a:dk1>
        <a:srgbClr val="0D4065"/>
      </a:dk1>
      <a:lt1>
        <a:srgbClr val="FFFFFF"/>
      </a:lt1>
      <a:dk2>
        <a:srgbClr val="0D4065"/>
      </a:dk2>
      <a:lt2>
        <a:srgbClr val="F9F8F7"/>
      </a:lt2>
      <a:accent1>
        <a:srgbClr val="0D4065"/>
      </a:accent1>
      <a:accent2>
        <a:srgbClr val="81AECF"/>
      </a:accent2>
      <a:accent3>
        <a:srgbClr val="D2C7B8"/>
      </a:accent3>
      <a:accent4>
        <a:srgbClr val="EDE7DE"/>
      </a:accent4>
      <a:accent5>
        <a:srgbClr val="DAE9F8"/>
      </a:accent5>
      <a:accent6>
        <a:srgbClr val="F0F7FC"/>
      </a:accent6>
      <a:hlink>
        <a:srgbClr val="0563C1"/>
      </a:hlink>
      <a:folHlink>
        <a:srgbClr val="954F72"/>
      </a:folHlink>
    </a:clrScheme>
    <a:fontScheme name="Thommessen">
      <a:majorFont>
        <a:latin typeface="Roboto Slab Light"/>
        <a:ea typeface=""/>
        <a:cs typeface=""/>
      </a:majorFont>
      <a:minorFont>
        <a:latin typeface="Open Sans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Thommessen blå">
      <a:srgbClr val="0D4065"/>
    </a:custClr>
    <a:custClr name="Himmelblå">
      <a:srgbClr val="81AECF"/>
    </a:custClr>
    <a:custClr name="Isblå">
      <a:srgbClr val="DAE9F8"/>
    </a:custClr>
    <a:custClr name="Snø">
      <a:srgbClr val="F0F7FC"/>
    </a:custClr>
    <a:custClr name="Lys Sand">
      <a:srgbClr val="F9F8F7"/>
    </a:custClr>
    <a:custClr name="Sand">
      <a:srgbClr val="EDE7DE"/>
    </a:custClr>
    <a:custClr name="Lin">
      <a:srgbClr val="D2C7B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kogsgrønn">
      <a:srgbClr val="1F4533"/>
    </a:custClr>
    <a:custClr name="Vintergrønn">
      <a:srgbClr val="CDE1D0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ips">
      <a:srgbClr val="E45050"/>
    </a:custClr>
    <a:custClr name="Skumring">
      <a:srgbClr val="F8906F"/>
    </a:custClr>
    <a:custClr name="Korngul">
      <a:srgbClr val="E6C586"/>
    </a:custClr>
    <a:custClr name="Plomme">
      <a:srgbClr val="604682"/>
    </a:custClr>
    <a:custClr name="Mose">
      <a:srgbClr val="54805B"/>
    </a:custClr>
    <a:custClr name="Jord">
      <a:srgbClr val="624D44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Thommessen">
      <a:dk1>
        <a:srgbClr val="0D4065"/>
      </a:dk1>
      <a:lt1>
        <a:srgbClr val="FFFFFF"/>
      </a:lt1>
      <a:dk2>
        <a:srgbClr val="0D4065"/>
      </a:dk2>
      <a:lt2>
        <a:srgbClr val="F9F8F7"/>
      </a:lt2>
      <a:accent1>
        <a:srgbClr val="0D4065"/>
      </a:accent1>
      <a:accent2>
        <a:srgbClr val="81AECF"/>
      </a:accent2>
      <a:accent3>
        <a:srgbClr val="D2C7B8"/>
      </a:accent3>
      <a:accent4>
        <a:srgbClr val="EDE7DE"/>
      </a:accent4>
      <a:accent5>
        <a:srgbClr val="DAE9F8"/>
      </a:accent5>
      <a:accent6>
        <a:srgbClr val="F0F7FC"/>
      </a:accent6>
      <a:hlink>
        <a:srgbClr val="0563C1"/>
      </a:hlink>
      <a:folHlink>
        <a:srgbClr val="954F72"/>
      </a:folHlink>
    </a:clrScheme>
    <a:fontScheme name="Thommessen">
      <a:majorFont>
        <a:latin typeface="Roboto Slab Ligh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Thommessen blå">
      <a:srgbClr val="0D4065"/>
    </a:custClr>
    <a:custClr name="Himmelblå">
      <a:srgbClr val="81AECF"/>
    </a:custClr>
    <a:custClr name="Isblå">
      <a:srgbClr val="DAE9F8"/>
    </a:custClr>
    <a:custClr name="Snø">
      <a:srgbClr val="F0F7FC"/>
    </a:custClr>
    <a:custClr name="Lys Sand">
      <a:srgbClr val="F9F8F7"/>
    </a:custClr>
    <a:custClr name="Sand">
      <a:srgbClr val="EDE7DE"/>
    </a:custClr>
    <a:custClr name="Lin">
      <a:srgbClr val="D2C7B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kogsgrønn">
      <a:srgbClr val="1F4533"/>
    </a:custClr>
    <a:custClr name="Vintergrønn">
      <a:srgbClr val="CDE1D0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ips">
      <a:srgbClr val="E45050"/>
    </a:custClr>
    <a:custClr name="Skumring">
      <a:srgbClr val="F8906F"/>
    </a:custClr>
    <a:custClr name="Korngul">
      <a:srgbClr val="E6C586"/>
    </a:custClr>
    <a:custClr name="Plomme">
      <a:srgbClr val="604682"/>
    </a:custClr>
    <a:custClr name="Mose">
      <a:srgbClr val="54805B"/>
    </a:custClr>
    <a:custClr name="Jord">
      <a:srgbClr val="624D44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10.xml><?xml version="1.0" encoding="utf-8"?>
<TemplafySlideFormConfiguration><![CDATA[{"formFields":[],"formDataEntries":[]}]]></TemplafySlideFormConfiguration>
</file>

<file path=customXml/item1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d853473-fcc1-4630-98f2-d14de53ceb0b">0133-1689588797-159162</_dlc_DocId>
    <_dlc_DocIdUrl xmlns="ed853473-fcc1-4630-98f2-d14de53ceb0b">
      <Url>https://euronext.sharepoint.com/sites/D2/_layouts/15/DocIdRedir.aspx?ID=0133-1689588797-159162</Url>
      <Description>0133-1689588797-159162</Description>
    </_dlc_DocIdUrl>
  </documentManagement>
</p:properties>
</file>

<file path=customXml/item12.xml><?xml version="1.0" encoding="utf-8"?>
<TemplafySlideTemplateConfiguration><![CDATA[{"documentContentValidatorConfiguration":{"enableDocumentContentValidator":false,"documentContentValidatorVersion":0},"elementsMetadata":[],"slideId":"637703069877607444","enableDocumentContentUpdater":true,"version":"1.3"}]]></TemplafySlideTemplateConfiguration>
</file>

<file path=customXml/item13.xml><?xml version="1.0" encoding="utf-8"?>
<TemplafySlideTemplateConfiguration><![CDATA[{"documentContentValidatorConfiguration":{"enableDocumentContentValidator":false,"documentContentValidatorVersion":0},"elementsMetadata":[],"slideId":"637262475456603528","enableDocumentContentUpdater":true,"version":"1.3"}]]></TemplafySlideTemplateConfiguration>
</file>

<file path=customXml/item14.xml><?xml version="1.0" encoding="utf-8"?>
<TemplafyTemplateConfiguration><![CDATA[{"elementsMetadata":[],"transformationConfigurations":[{"language":"{{DocumentLanguage}}","disableUpdates":false,"type":"proofingLanguage"}],"templateName":"","templateDescription":"","enableDocumentContentUpdater":true,"version":"1.3"}]]></TemplafyTemplateConfiguration>
</file>

<file path=customXml/item15.xml><?xml version="1.0" encoding="utf-8"?>
<TemplafySlideTemplateConfiguration><![CDATA[{"documentContentValidatorConfiguration":{"enableDocumentContentValidator":false,"documentContentValidatorVersion":0},"elementsMetadata":[],"slideId":"637776721816879085","enableDocumentContentUpdater":true,"version":"1.3"}]]></TemplafySlideTemplateConfiguration>
</file>

<file path=customXml/item1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FormConfiguration><![CDATA[{"formFields":[],"formDataEntries":[]}]]></TemplafyForm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FormConfiguration><![CDATA[{"formFields":[],"formDataEntries":[]}]]></TemplafySlideFormConfiguration>
</file>

<file path=customXml/item20.xml><?xml version="1.0" encoding="utf-8"?>
<TemplafySlideTemplateConfiguration><![CDATA[{"documentContentValidatorConfiguration":{"enableDocumentContentValidator":false,"documentContentValidatorVersion":0},"elementsMetadata":[],"slideId":"637776721816879085","enableDocumentContentUpdater":true,"version":"1.3"}]]></TemplafySlideTemplate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FormConfiguration><![CDATA[{"formFields":[],"formDataEntries":[]}]]></TemplafySlideFormConfiguration>
</file>

<file path=customXml/item23.xml><?xml version="1.0" encoding="utf-8"?>
<TemplafySlideTemplateConfiguration><![CDATA[{"documentContentValidatorConfiguration":{"enableDocumentContentValidator":false,"documentContentValidatorVersion":0},"elementsMetadata":[],"slideId":"637703069877763707","enableDocumentContentUpdater":true,"version":"1.3"}]]></TemplafySlideTemplateConfiguration>
</file>

<file path=customXml/item24.xml><?xml version="1.0" encoding="utf-8"?>
<TemplafySlideFormConfiguration><![CDATA[{"formFields":[],"formDataEntries":[]}]]></TemplafySlideFormConfiguration>
</file>

<file path=customXml/item3.xml><?xml version="1.0" encoding="utf-8"?>
<TemplafySlideTemplateConfiguration><![CDATA[{"documentContentValidatorConfiguration":{"enableDocumentContentValidator":false,"documentContentValidatorVersion":0},"elementsMetadata":[],"slideId":"637776721816879085","enableDocumentContentUpdater":true,"version":"1.3"}]]></TemplafySlideTemplateConfiguration>
</file>

<file path=customXml/item4.xml><?xml version="1.0" encoding="utf-8"?>
<TemplafySlideTemplateConfiguration><![CDATA[{"documentContentValidatorConfiguration":{"enableDocumentContentValidator":false,"documentContentValidatorVersion":0},"elementsMetadata":[],"slideId":"637776721878598298","enableDocumentContentUpdater":true,"version":"1.3"}]]></TemplafySlideTemplateConfiguration>
</file>

<file path=customXml/item5.xml><?xml version="1.0" encoding="utf-8"?>
<TemplafySlideTemplateConfiguration><![CDATA[{"documentContentValidatorConfiguration":{"enableDocumentContentValidator":false,"documentContentValidatorVersion":0},"elementsMetadata":[],"slideId":"637600406865407820","enableDocumentContentUpdater":true,"version":"1.3"}]]></TemplafySlideTemplateConfiguration>
</file>

<file path=customXml/item6.xml><?xml version="1.0" encoding="utf-8"?>
<TemplafySlideTemplateConfiguration><![CDATA[{"documentContentValidatorConfiguration":{"enableDocumentContentValidator":false,"documentContentValidatorVersion":0},"elementsMetadata":[],"slideId":"637262475456603528","enableDocumentContentUpdater":true,"version":"1.3"}]]></TemplafySlideTemplate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A30B5F38D2CD844AF965AF5EDE0A086" ma:contentTypeVersion="329" ma:contentTypeDescription="Opprett et nytt dokument." ma:contentTypeScope="" ma:versionID="2018f18efad3c2b09d9c50f94fe6cd2f">
  <xsd:schema xmlns:xsd="http://www.w3.org/2001/XMLSchema" xmlns:xs="http://www.w3.org/2001/XMLSchema" xmlns:p="http://schemas.microsoft.com/office/2006/metadata/properties" xmlns:ns2="c708f2a2-8ba1-4012-bd2a-beba22b60920" xmlns:ns3="ed853473-fcc1-4630-98f2-d14de53ceb0b" targetNamespace="http://schemas.microsoft.com/office/2006/metadata/properties" ma:root="true" ma:fieldsID="acfe96adf886b0ce70e52aad61050c23" ns2:_="" ns3:_="">
    <xsd:import namespace="c708f2a2-8ba1-4012-bd2a-beba22b60920"/>
    <xsd:import namespace="ed853473-fcc1-4630-98f2-d14de53ceb0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_dlc_DocId" minOccurs="0"/>
                <xsd:element ref="ns3:_dlc_DocIdUrl" minOccurs="0"/>
                <xsd:element ref="ns3:_dlc_DocIdPersistId" minOccurs="0"/>
                <xsd:element ref="ns2:MediaLengthInSecond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08f2a2-8ba1-4012-bd2a-beba22b6092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853473-fcc1-4630-98f2-d14de53ceb0b" elementFormDefault="qualified">
    <xsd:import namespace="http://schemas.microsoft.com/office/2006/documentManagement/types"/>
    <xsd:import namespace="http://schemas.microsoft.com/office/infopath/2007/PartnerControls"/>
    <xsd:element name="_dlc_DocId" ma:index="13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14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5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21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EA1FAB3A-082B-4B2A-8268-112CCFD2AF3A}">
  <ds:schemaRefs>
    <ds:schemaRef ds:uri="http://schemas.microsoft.com/sharepoint/events"/>
  </ds:schemaRefs>
</ds:datastoreItem>
</file>

<file path=customXml/itemProps10.xml><?xml version="1.0" encoding="utf-8"?>
<ds:datastoreItem xmlns:ds="http://schemas.openxmlformats.org/officeDocument/2006/customXml" ds:itemID="{1A6978DB-8608-4464-AB2A-F328A5F52947}">
  <ds:schemaRefs/>
</ds:datastoreItem>
</file>

<file path=customXml/itemProps11.xml><?xml version="1.0" encoding="utf-8"?>
<ds:datastoreItem xmlns:ds="http://schemas.openxmlformats.org/officeDocument/2006/customXml" ds:itemID="{D8214812-8ADA-40E6-8915-C6855864B2D0}">
  <ds:schemaRefs>
    <ds:schemaRef ds:uri="http://schemas.microsoft.com/office/2006/metadata/properties"/>
    <ds:schemaRef ds:uri="http://schemas.microsoft.com/office/infopath/2007/PartnerControls"/>
    <ds:schemaRef ds:uri="ed853473-fcc1-4630-98f2-d14de53ceb0b"/>
  </ds:schemaRefs>
</ds:datastoreItem>
</file>

<file path=customXml/itemProps12.xml><?xml version="1.0" encoding="utf-8"?>
<ds:datastoreItem xmlns:ds="http://schemas.openxmlformats.org/officeDocument/2006/customXml" ds:itemID="{480920AD-D53B-4A35-B67C-F0B5D8AE1B64}">
  <ds:schemaRefs/>
</ds:datastoreItem>
</file>

<file path=customXml/itemProps13.xml><?xml version="1.0" encoding="utf-8"?>
<ds:datastoreItem xmlns:ds="http://schemas.openxmlformats.org/officeDocument/2006/customXml" ds:itemID="{21ADDC72-0085-4D5B-9F7D-D2AAC31088BD}">
  <ds:schemaRefs/>
</ds:datastoreItem>
</file>

<file path=customXml/itemProps14.xml><?xml version="1.0" encoding="utf-8"?>
<ds:datastoreItem xmlns:ds="http://schemas.openxmlformats.org/officeDocument/2006/customXml" ds:itemID="{918F36F7-BB98-4279-B1FB-DB386C56A746}">
  <ds:schemaRefs/>
</ds:datastoreItem>
</file>

<file path=customXml/itemProps15.xml><?xml version="1.0" encoding="utf-8"?>
<ds:datastoreItem xmlns:ds="http://schemas.openxmlformats.org/officeDocument/2006/customXml" ds:itemID="{F3258A94-6B0F-4E0A-80CF-50E3711F78B7}">
  <ds:schemaRefs/>
</ds:datastoreItem>
</file>

<file path=customXml/itemProps16.xml><?xml version="1.0" encoding="utf-8"?>
<ds:datastoreItem xmlns:ds="http://schemas.openxmlformats.org/officeDocument/2006/customXml" ds:itemID="{B48B2CFE-05E6-408D-8C1A-88D8EE13BA58}">
  <ds:schemaRefs>
    <ds:schemaRef ds:uri="http://schemas.microsoft.com/sharepoint/v3/contenttype/forms"/>
  </ds:schemaRefs>
</ds:datastoreItem>
</file>

<file path=customXml/itemProps17.xml><?xml version="1.0" encoding="utf-8"?>
<ds:datastoreItem xmlns:ds="http://schemas.openxmlformats.org/officeDocument/2006/customXml" ds:itemID="{E2FF416C-B1B5-4B23-825B-56B21535FF4D}">
  <ds:schemaRefs/>
</ds:datastoreItem>
</file>

<file path=customXml/itemProps18.xml><?xml version="1.0" encoding="utf-8"?>
<ds:datastoreItem xmlns:ds="http://schemas.openxmlformats.org/officeDocument/2006/customXml" ds:itemID="{39214C55-60BA-4A53-96C9-0B385109AE02}">
  <ds:schemaRefs/>
</ds:datastoreItem>
</file>

<file path=customXml/itemProps19.xml><?xml version="1.0" encoding="utf-8"?>
<ds:datastoreItem xmlns:ds="http://schemas.openxmlformats.org/officeDocument/2006/customXml" ds:itemID="{7B55DB3D-55DA-40ED-ADF5-FA63D02180D0}">
  <ds:schemaRefs/>
</ds:datastoreItem>
</file>

<file path=customXml/itemProps2.xml><?xml version="1.0" encoding="utf-8"?>
<ds:datastoreItem xmlns:ds="http://schemas.openxmlformats.org/officeDocument/2006/customXml" ds:itemID="{81717D90-6A83-447D-A99F-C1D6AEF172F9}">
  <ds:schemaRefs/>
</ds:datastoreItem>
</file>

<file path=customXml/itemProps20.xml><?xml version="1.0" encoding="utf-8"?>
<ds:datastoreItem xmlns:ds="http://schemas.openxmlformats.org/officeDocument/2006/customXml" ds:itemID="{20EB5699-CEC4-42F4-83FC-1AD1A4DEC610}">
  <ds:schemaRefs/>
</ds:datastoreItem>
</file>

<file path=customXml/itemProps21.xml><?xml version="1.0" encoding="utf-8"?>
<ds:datastoreItem xmlns:ds="http://schemas.openxmlformats.org/officeDocument/2006/customXml" ds:itemID="{6D8829CE-886B-4AA9-A55E-D31FDD50708F}">
  <ds:schemaRefs/>
</ds:datastoreItem>
</file>

<file path=customXml/itemProps22.xml><?xml version="1.0" encoding="utf-8"?>
<ds:datastoreItem xmlns:ds="http://schemas.openxmlformats.org/officeDocument/2006/customXml" ds:itemID="{C719E1BB-2E34-4567-BE37-F56F934AD2E6}">
  <ds:schemaRefs/>
</ds:datastoreItem>
</file>

<file path=customXml/itemProps23.xml><?xml version="1.0" encoding="utf-8"?>
<ds:datastoreItem xmlns:ds="http://schemas.openxmlformats.org/officeDocument/2006/customXml" ds:itemID="{45012477-7EF7-49D1-A138-97AD61843494}">
  <ds:schemaRefs/>
</ds:datastoreItem>
</file>

<file path=customXml/itemProps24.xml><?xml version="1.0" encoding="utf-8"?>
<ds:datastoreItem xmlns:ds="http://schemas.openxmlformats.org/officeDocument/2006/customXml" ds:itemID="{0C9A888A-291B-4227-AE9F-9CC3AF3CD487}">
  <ds:schemaRefs/>
</ds:datastoreItem>
</file>

<file path=customXml/itemProps3.xml><?xml version="1.0" encoding="utf-8"?>
<ds:datastoreItem xmlns:ds="http://schemas.openxmlformats.org/officeDocument/2006/customXml" ds:itemID="{1C73B409-341A-4DD3-8F39-B8857130FC9E}">
  <ds:schemaRefs/>
</ds:datastoreItem>
</file>

<file path=customXml/itemProps4.xml><?xml version="1.0" encoding="utf-8"?>
<ds:datastoreItem xmlns:ds="http://schemas.openxmlformats.org/officeDocument/2006/customXml" ds:itemID="{B690646B-01B2-4FA5-A6C3-29BBC9B752F2}">
  <ds:schemaRefs/>
</ds:datastoreItem>
</file>

<file path=customXml/itemProps5.xml><?xml version="1.0" encoding="utf-8"?>
<ds:datastoreItem xmlns:ds="http://schemas.openxmlformats.org/officeDocument/2006/customXml" ds:itemID="{E038DA57-3102-43CE-A397-E225DEC6D879}">
  <ds:schemaRefs/>
</ds:datastoreItem>
</file>

<file path=customXml/itemProps6.xml><?xml version="1.0" encoding="utf-8"?>
<ds:datastoreItem xmlns:ds="http://schemas.openxmlformats.org/officeDocument/2006/customXml" ds:itemID="{EBDECB92-6C95-4B5F-AAEA-2E3BBAC05112}">
  <ds:schemaRefs/>
</ds:datastoreItem>
</file>

<file path=customXml/itemProps7.xml><?xml version="1.0" encoding="utf-8"?>
<ds:datastoreItem xmlns:ds="http://schemas.openxmlformats.org/officeDocument/2006/customXml" ds:itemID="{5C77BA3D-DB94-42F2-B35D-6B8EDC5AC87F}">
  <ds:schemaRefs/>
</ds:datastoreItem>
</file>

<file path=customXml/itemProps8.xml><?xml version="1.0" encoding="utf-8"?>
<ds:datastoreItem xmlns:ds="http://schemas.openxmlformats.org/officeDocument/2006/customXml" ds:itemID="{7DD41E1E-DC83-400A-BCF4-501F234FD08F}"/>
</file>

<file path=customXml/itemProps9.xml><?xml version="1.0" encoding="utf-8"?>
<ds:datastoreItem xmlns:ds="http://schemas.openxmlformats.org/officeDocument/2006/customXml" ds:itemID="{C5D8C6D6-54EB-422D-ADA5-1D48301BFF5B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seTemplate 16-9 UK</Template>
  <TotalTime>9427</TotalTime>
  <Words>489</Words>
  <Application>Microsoft Office PowerPoint</Application>
  <PresentationFormat>Widescreen</PresentationFormat>
  <Paragraphs>169</Paragraphs>
  <Slides>7</Slides>
  <Notes>7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THOMMESSEN</vt:lpstr>
      <vt:lpstr>IPO Process and Timeline</vt:lpstr>
      <vt:lpstr>Who does what and why?</vt:lpstr>
      <vt:lpstr>Key workstreams and timeline // Oslo Børs/Euronext Expand</vt:lpstr>
      <vt:lpstr>Key workstreams and timeline // Euronext Growth </vt:lpstr>
      <vt:lpstr>Key workstreams and timeline // Oslo Børs/Euronext Expand</vt:lpstr>
      <vt:lpstr>What characterises a good process?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a Wilhelmine Jørgensen</dc:creator>
  <cp:lastModifiedBy>Thommessen</cp:lastModifiedBy>
  <cp:revision>227</cp:revision>
  <dcterms:created xsi:type="dcterms:W3CDTF">2021-06-22T13:14:40Z</dcterms:created>
  <dcterms:modified xsi:type="dcterms:W3CDTF">2022-05-04T11:01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omnidocs.com</vt:lpwstr>
  </property>
  <property fmtid="{D5CDD505-2E9C-101B-9397-08002B2CF9AE}" pid="3" name="TemplafyTimeStamp">
    <vt:lpwstr>2021-06-28T12:42:08.4439369Z</vt:lpwstr>
  </property>
  <property fmtid="{D5CDD505-2E9C-101B-9397-08002B2CF9AE}" pid="4" name="ApplyLanguageRun">
    <vt:lpwstr>true</vt:lpwstr>
  </property>
  <property fmtid="{D5CDD505-2E9C-101B-9397-08002B2CF9AE}" pid="5" name="TemplafyTenantId">
    <vt:lpwstr>thommessen</vt:lpwstr>
  </property>
  <property fmtid="{D5CDD505-2E9C-101B-9397-08002B2CF9AE}" pid="6" name="TemplafyTemplateId">
    <vt:lpwstr>637698238224600972</vt:lpwstr>
  </property>
  <property fmtid="{D5CDD505-2E9C-101B-9397-08002B2CF9AE}" pid="7" name="TemplafyUserProfileId">
    <vt:lpwstr>637175299001974684</vt:lpwstr>
  </property>
  <property fmtid="{D5CDD505-2E9C-101B-9397-08002B2CF9AE}" pid="8" name="ContentTypeId">
    <vt:lpwstr>0x0101000A30B5F38D2CD844AF965AF5EDE0A086</vt:lpwstr>
  </property>
  <property fmtid="{D5CDD505-2E9C-101B-9397-08002B2CF9AE}" pid="9" name="_dlc_DocIdItemGuid">
    <vt:lpwstr>fdd0ad10-0e7e-4da1-ab4f-40b6944a499b</vt:lpwstr>
  </property>
  <property fmtid="{D5CDD505-2E9C-101B-9397-08002B2CF9AE}" pid="10" name="MSIP_Label_ac0b9ce6-6e99-42a1-af95-429494370cbc_Enabled">
    <vt:lpwstr>true</vt:lpwstr>
  </property>
  <property fmtid="{D5CDD505-2E9C-101B-9397-08002B2CF9AE}" pid="11" name="MSIP_Label_ac0b9ce6-6e99-42a1-af95-429494370cbc_SetDate">
    <vt:lpwstr>2022-05-04T11:01:01Z</vt:lpwstr>
  </property>
  <property fmtid="{D5CDD505-2E9C-101B-9397-08002B2CF9AE}" pid="12" name="MSIP_Label_ac0b9ce6-6e99-42a1-af95-429494370cbc_Method">
    <vt:lpwstr>Standard</vt:lpwstr>
  </property>
  <property fmtid="{D5CDD505-2E9C-101B-9397-08002B2CF9AE}" pid="13" name="MSIP_Label_ac0b9ce6-6e99-42a1-af95-429494370cbc_Name">
    <vt:lpwstr>ac0b9ce6-6e99-42a1-af95-429494370cbc</vt:lpwstr>
  </property>
  <property fmtid="{D5CDD505-2E9C-101B-9397-08002B2CF9AE}" pid="14" name="MSIP_Label_ac0b9ce6-6e99-42a1-af95-429494370cbc_SiteId">
    <vt:lpwstr>315b1ee5-c224-498b-871e-c140611d6d07</vt:lpwstr>
  </property>
  <property fmtid="{D5CDD505-2E9C-101B-9397-08002B2CF9AE}" pid="15" name="MSIP_Label_ac0b9ce6-6e99-42a1-af95-429494370cbc_ActionId">
    <vt:lpwstr>5ac7fce2-6b14-437a-90ec-cdb20f8bd525</vt:lpwstr>
  </property>
  <property fmtid="{D5CDD505-2E9C-101B-9397-08002B2CF9AE}" pid="16" name="MSIP_Label_ac0b9ce6-6e99-42a1-af95-429494370cbc_ContentBits">
    <vt:lpwstr>2</vt:lpwstr>
  </property>
  <property fmtid="{D5CDD505-2E9C-101B-9397-08002B2CF9AE}" pid="17" name="ClassificationContentMarkingFooterLocations">
    <vt:lpwstr>THOMMESSEN:9</vt:lpwstr>
  </property>
  <property fmtid="{D5CDD505-2E9C-101B-9397-08002B2CF9AE}" pid="18" name="ClassificationContentMarkingFooterText">
    <vt:lpwstr>INTERNAL USE ONLY</vt:lpwstr>
  </property>
</Properties>
</file>